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6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8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9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0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11.xml" ContentType="application/vnd.openxmlformats-officedocument.them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2.xml" ContentType="application/vnd.openxmlformats-officedocument.them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3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4.xml" ContentType="application/vnd.openxmlformats-officedocument.them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5.xml" ContentType="application/vnd.openxmlformats-officedocument.theme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7" r:id="rId4"/>
    <p:sldMasterId id="2147484144" r:id="rId5"/>
    <p:sldMasterId id="2147484154" r:id="rId6"/>
    <p:sldMasterId id="2147484189" r:id="rId7"/>
    <p:sldMasterId id="2147484194" r:id="rId8"/>
    <p:sldMasterId id="2147484218" r:id="rId9"/>
    <p:sldMasterId id="2147484235" r:id="rId10"/>
    <p:sldMasterId id="2147484242" r:id="rId11"/>
    <p:sldMasterId id="2147484253" r:id="rId12"/>
    <p:sldMasterId id="2147484293" r:id="rId13"/>
    <p:sldMasterId id="2147484312" r:id="rId14"/>
    <p:sldMasterId id="2147484317" r:id="rId15"/>
    <p:sldMasterId id="2147484321" r:id="rId16"/>
    <p:sldMasterId id="2147484328" r:id="rId17"/>
    <p:sldMasterId id="2147484335" r:id="rId18"/>
    <p:sldMasterId id="2147484344" r:id="rId19"/>
  </p:sldMasterIdLst>
  <p:notesMasterIdLst>
    <p:notesMasterId r:id="rId28"/>
  </p:notesMasterIdLst>
  <p:sldIdLst>
    <p:sldId id="2141411364" r:id="rId20"/>
    <p:sldId id="2147377170" r:id="rId21"/>
    <p:sldId id="2147377173" r:id="rId22"/>
    <p:sldId id="2147377171" r:id="rId23"/>
    <p:sldId id="2147377172" r:id="rId24"/>
    <p:sldId id="1199" r:id="rId25"/>
    <p:sldId id="2134803839" r:id="rId26"/>
    <p:sldId id="2134803773" r:id="rId27"/>
  </p:sldIdLst>
  <p:sldSz cx="12801600" cy="9601200" type="A3"/>
  <p:notesSz cx="6797675" cy="9928225"/>
  <p:defaultTextStyle>
    <a:defPPr>
      <a:defRPr lang="en-US"/>
    </a:defPPr>
    <a:lvl1pPr marL="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771D491-0FFA-447E-BFFF-AFABD8554DDF}">
          <p14:sldIdLst>
            <p14:sldId id="2141411364"/>
            <p14:sldId id="2147377170"/>
            <p14:sldId id="2147377173"/>
            <p14:sldId id="2147377171"/>
            <p14:sldId id="2147377172"/>
            <p14:sldId id="1199"/>
            <p14:sldId id="2134803839"/>
          </p14:sldIdLst>
        </p14:section>
        <p14:section name="Default Section" id="{FA309D29-86DB-4E1B-AFEB-C25A9F14EE8A}">
          <p14:sldIdLst>
            <p14:sldId id="213480377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4" userDrawn="1">
          <p15:clr>
            <a:srgbClr val="A4A3A4"/>
          </p15:clr>
        </p15:guide>
        <p15:guide id="2" pos="403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fian Lawal Lawal" initials="SLL" lastIdx="1" clrIdx="0">
    <p:extLst>
      <p:ext uri="{19B8F6BF-5375-455C-9EA6-DF929625EA0E}">
        <p15:presenceInfo xmlns:p15="http://schemas.microsoft.com/office/powerpoint/2012/main" userId="S::20740@nnpcgroup.com::41135a35-3eca-4e3d-9c83-327f9195496b" providerId="AD"/>
      </p:ext>
    </p:extLst>
  </p:cmAuthor>
  <p:cmAuthor id="2" name="Lawal A. Musa" initials="LAM" lastIdx="1" clrIdx="1">
    <p:extLst>
      <p:ext uri="{19B8F6BF-5375-455C-9EA6-DF929625EA0E}">
        <p15:presenceInfo xmlns:p15="http://schemas.microsoft.com/office/powerpoint/2012/main" userId="S::20857@nnpcgroup.com::b0add847-19a5-438a-afa4-77b200a8dda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E13F"/>
    <a:srgbClr val="BC8F00"/>
    <a:srgbClr val="A6D2BC"/>
    <a:srgbClr val="54A67D"/>
    <a:srgbClr val="22422B"/>
    <a:srgbClr val="3B7558"/>
    <a:srgbClr val="B6B6B6"/>
    <a:srgbClr val="B0B0B0"/>
    <a:srgbClr val="005DA2"/>
    <a:srgbClr val="004F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88278F-58EA-46D7-971B-4E50D631ED86}" v="69" dt="2021-10-27T09:51:02.6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248" autoAdjust="0"/>
    <p:restoredTop sz="94660"/>
  </p:normalViewPr>
  <p:slideViewPr>
    <p:cSldViewPr snapToGrid="0">
      <p:cViewPr varScale="1">
        <p:scale>
          <a:sx n="52" d="100"/>
          <a:sy n="52" d="100"/>
        </p:scale>
        <p:origin x="1308" y="72"/>
      </p:cViewPr>
      <p:guideLst>
        <p:guide orient="horz" pos="3024"/>
        <p:guide pos="403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4857198903851221E-2"/>
          <c:y val="3.4373783719569305E-2"/>
          <c:w val="0.93434729476644196"/>
          <c:h val="0.770562098584282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 Dated Brent</c:v>
                </c:pt>
              </c:strCache>
            </c:strRef>
          </c:tx>
          <c:spPr>
            <a:ln w="44450" cap="rnd">
              <a:solidFill>
                <a:srgbClr val="006600"/>
              </a:solidFill>
              <a:round/>
            </a:ln>
            <a:effectLst/>
          </c:spPr>
          <c:marker>
            <c:symbol val="none"/>
          </c:marker>
          <c:cat>
            <c:numRef>
              <c:f>Sheet1!$A$2:$A$212</c:f>
              <c:numCache>
                <c:formatCode>[$-409]d\-mmm\-yy;@</c:formatCode>
                <c:ptCount val="211"/>
                <c:pt idx="0">
                  <c:v>44196</c:v>
                </c:pt>
                <c:pt idx="1">
                  <c:v>44197</c:v>
                </c:pt>
                <c:pt idx="2">
                  <c:v>44198</c:v>
                </c:pt>
                <c:pt idx="3">
                  <c:v>44199</c:v>
                </c:pt>
                <c:pt idx="4">
                  <c:v>44200</c:v>
                </c:pt>
                <c:pt idx="5">
                  <c:v>44201</c:v>
                </c:pt>
                <c:pt idx="6">
                  <c:v>44202</c:v>
                </c:pt>
                <c:pt idx="7">
                  <c:v>44203</c:v>
                </c:pt>
                <c:pt idx="8">
                  <c:v>44204</c:v>
                </c:pt>
                <c:pt idx="9">
                  <c:v>44207</c:v>
                </c:pt>
                <c:pt idx="10">
                  <c:v>44208</c:v>
                </c:pt>
                <c:pt idx="11">
                  <c:v>44209</c:v>
                </c:pt>
                <c:pt idx="12">
                  <c:v>44210</c:v>
                </c:pt>
                <c:pt idx="13">
                  <c:v>44211</c:v>
                </c:pt>
                <c:pt idx="14">
                  <c:v>44214</c:v>
                </c:pt>
                <c:pt idx="15">
                  <c:v>44215</c:v>
                </c:pt>
                <c:pt idx="16">
                  <c:v>44216</c:v>
                </c:pt>
                <c:pt idx="17">
                  <c:v>44217</c:v>
                </c:pt>
                <c:pt idx="18">
                  <c:v>44218</c:v>
                </c:pt>
                <c:pt idx="19">
                  <c:v>44221</c:v>
                </c:pt>
                <c:pt idx="20">
                  <c:v>44222</c:v>
                </c:pt>
                <c:pt idx="21">
                  <c:v>44223</c:v>
                </c:pt>
                <c:pt idx="22">
                  <c:v>44224</c:v>
                </c:pt>
                <c:pt idx="23">
                  <c:v>44225</c:v>
                </c:pt>
                <c:pt idx="24">
                  <c:v>44228</c:v>
                </c:pt>
                <c:pt idx="25">
                  <c:v>44229</c:v>
                </c:pt>
                <c:pt idx="26">
                  <c:v>44230</c:v>
                </c:pt>
                <c:pt idx="27">
                  <c:v>44231</c:v>
                </c:pt>
                <c:pt idx="28">
                  <c:v>44232</c:v>
                </c:pt>
                <c:pt idx="29">
                  <c:v>44235</c:v>
                </c:pt>
                <c:pt idx="30">
                  <c:v>44236</c:v>
                </c:pt>
                <c:pt idx="31">
                  <c:v>44237</c:v>
                </c:pt>
                <c:pt idx="32">
                  <c:v>44238</c:v>
                </c:pt>
                <c:pt idx="33">
                  <c:v>44239</c:v>
                </c:pt>
                <c:pt idx="34">
                  <c:v>44242</c:v>
                </c:pt>
                <c:pt idx="35">
                  <c:v>44243</c:v>
                </c:pt>
                <c:pt idx="36">
                  <c:v>44244</c:v>
                </c:pt>
                <c:pt idx="37">
                  <c:v>44245</c:v>
                </c:pt>
                <c:pt idx="38">
                  <c:v>44246</c:v>
                </c:pt>
                <c:pt idx="39" formatCode="[$]d\ mmm\ yyyy;@" c16r2:formatcode2="[$-en-NG,1]d\ mmm\ yyyy;@">
                  <c:v>44249</c:v>
                </c:pt>
                <c:pt idx="40" formatCode="[$]d\ mmm\ yyyy;@" c16r2:formatcode2="[$-en-NG,1]d\ mmm\ yyyy;@">
                  <c:v>44250</c:v>
                </c:pt>
                <c:pt idx="41" formatCode="[$]d\ mmm\ yyyy;@" c16r2:formatcode2="[$-en-NG,1]d\ mmm\ yyyy;@">
                  <c:v>44251</c:v>
                </c:pt>
                <c:pt idx="42" formatCode="[$]d\ mmm\ yyyy;@" c16r2:formatcode2="[$-en-NG,1]d\ mmm\ yyyy;@">
                  <c:v>44252</c:v>
                </c:pt>
                <c:pt idx="43" formatCode="[$]d\ mmm\ yyyy;@" c16r2:formatcode2="[$-en-NG,1]d\ mmm\ yyyy;@">
                  <c:v>44253</c:v>
                </c:pt>
                <c:pt idx="44" formatCode="[$]d\ mmm\ yyyy;@" c16r2:formatcode2="[$-en-NG,1]d\ mmm\ yyyy;@">
                  <c:v>44256</c:v>
                </c:pt>
                <c:pt idx="45" formatCode="[$]d\ mmm\ yyyy;@" c16r2:formatcode2="[$-en-NG,1]d\ mmm\ yyyy;@">
                  <c:v>44257</c:v>
                </c:pt>
                <c:pt idx="46" formatCode="[$]d\ mmm\ yyyy;@" c16r2:formatcode2="[$-en-NG,1]d\ mmm\ yyyy;@">
                  <c:v>44258</c:v>
                </c:pt>
                <c:pt idx="47" formatCode="[$]d\ mmm\ yyyy;@" c16r2:formatcode2="[$-en-NG,1]d\ mmm\ yyyy;@">
                  <c:v>44259</c:v>
                </c:pt>
                <c:pt idx="48" formatCode="[$]d\ mmm\ yyyy;@" c16r2:formatcode2="[$-en-NG,1]d\ mmm\ yyyy;@">
                  <c:v>44260</c:v>
                </c:pt>
                <c:pt idx="49" formatCode="[$]d\ mmm\ yyyy;@" c16r2:formatcode2="[$-en-NG,1]d\ mmm\ yyyy;@">
                  <c:v>44263</c:v>
                </c:pt>
                <c:pt idx="50" formatCode="[$]d\ mmm\ yyyy;@" c16r2:formatcode2="[$-en-NG,1]d\ mmm\ yyyy;@">
                  <c:v>44264</c:v>
                </c:pt>
                <c:pt idx="51" formatCode="[$]d\ mmm\ yyyy;@" c16r2:formatcode2="[$-en-NG,1]d\ mmm\ yyyy;@">
                  <c:v>44265</c:v>
                </c:pt>
                <c:pt idx="52" formatCode="[$]d\ mmm\ yyyy;@" c16r2:formatcode2="[$-en-NG,1]d\ mmm\ yyyy;@">
                  <c:v>44266</c:v>
                </c:pt>
                <c:pt idx="53" formatCode="[$]d\ mmm\ yyyy;@" c16r2:formatcode2="[$-en-NG,1]d\ mmm\ yyyy;@">
                  <c:v>44267</c:v>
                </c:pt>
                <c:pt idx="54" formatCode="[$]d\ mmm\ yyyy;@" c16r2:formatcode2="[$-en-NG,1]d\ mmm\ yyyy;@">
                  <c:v>44270</c:v>
                </c:pt>
                <c:pt idx="55" formatCode="[$]d\ mmm\ yyyy;@" c16r2:formatcode2="[$-en-NG,1]d\ mmm\ yyyy;@">
                  <c:v>44271</c:v>
                </c:pt>
                <c:pt idx="56">
                  <c:v>44272</c:v>
                </c:pt>
                <c:pt idx="57">
                  <c:v>44273</c:v>
                </c:pt>
                <c:pt idx="58">
                  <c:v>44274</c:v>
                </c:pt>
                <c:pt idx="59">
                  <c:v>44277</c:v>
                </c:pt>
                <c:pt idx="60">
                  <c:v>44278</c:v>
                </c:pt>
                <c:pt idx="61">
                  <c:v>44279</c:v>
                </c:pt>
                <c:pt idx="62">
                  <c:v>44280</c:v>
                </c:pt>
                <c:pt idx="63">
                  <c:v>44281</c:v>
                </c:pt>
                <c:pt idx="64">
                  <c:v>44284</c:v>
                </c:pt>
                <c:pt idx="65">
                  <c:v>44285</c:v>
                </c:pt>
                <c:pt idx="66">
                  <c:v>44286</c:v>
                </c:pt>
                <c:pt idx="67">
                  <c:v>44287</c:v>
                </c:pt>
                <c:pt idx="68">
                  <c:v>44292</c:v>
                </c:pt>
                <c:pt idx="69">
                  <c:v>44293</c:v>
                </c:pt>
                <c:pt idx="70">
                  <c:v>44294</c:v>
                </c:pt>
                <c:pt idx="71">
                  <c:v>44295</c:v>
                </c:pt>
                <c:pt idx="72">
                  <c:v>44298</c:v>
                </c:pt>
                <c:pt idx="73">
                  <c:v>44299</c:v>
                </c:pt>
                <c:pt idx="74" formatCode="[$]d\ mmm\ yyyy;@" c16r2:formatcode2="[$-en-NG,1]d\ mmm\ yyyy;@">
                  <c:v>44300</c:v>
                </c:pt>
                <c:pt idx="75" formatCode="[$]d\ mmm\ yyyy;@" c16r2:formatcode2="[$-en-NG,1]d\ mmm\ yyyy;@">
                  <c:v>44301</c:v>
                </c:pt>
                <c:pt idx="76" formatCode="[$]d\ mmm\ yyyy;@" c16r2:formatcode2="[$-en-NG,1]d\ mmm\ yyyy;@">
                  <c:v>44302</c:v>
                </c:pt>
                <c:pt idx="77" formatCode="[$]d\ mmm\ yyyy;@" c16r2:formatcode2="[$-en-NG,1]d\ mmm\ yyyy;@">
                  <c:v>44305</c:v>
                </c:pt>
                <c:pt idx="78" formatCode="[$]d\ mmm\ yyyy;@" c16r2:formatcode2="[$-en-NG,1]d\ mmm\ yyyy;@">
                  <c:v>44306</c:v>
                </c:pt>
                <c:pt idx="79" formatCode="[$]d\ mmm\ yyyy;@" c16r2:formatcode2="[$-en-NG,1]d\ mmm\ yyyy;@">
                  <c:v>44307</c:v>
                </c:pt>
                <c:pt idx="80" formatCode="[$]d\ mmm\ yyyy;@" c16r2:formatcode2="[$-en-NG,1]d\ mmm\ yyyy;@">
                  <c:v>44308</c:v>
                </c:pt>
                <c:pt idx="81" formatCode="[$]d\ mmm\ yyyy;@" c16r2:formatcode2="[$-en-NG,1]d\ mmm\ yyyy;@">
                  <c:v>44309</c:v>
                </c:pt>
                <c:pt idx="82" formatCode="[$]d\ mmm\ yyyy;@" c16r2:formatcode2="[$-en-NG,1]d\ mmm\ yyyy;@">
                  <c:v>44312</c:v>
                </c:pt>
                <c:pt idx="83" formatCode="[$]d\ mmm\ yyyy;@" c16r2:formatcode2="[$-en-NG,1]d\ mmm\ yyyy;@">
                  <c:v>44313</c:v>
                </c:pt>
                <c:pt idx="84" formatCode="[$]d\ mmm\ yyyy;@" c16r2:formatcode2="[$-en-NG,1]d\ mmm\ yyyy;@">
                  <c:v>44314</c:v>
                </c:pt>
                <c:pt idx="85" formatCode="[$]d\ mmm\ yyyy;@" c16r2:formatcode2="[$-en-NG,1]d\ mmm\ yyyy;@">
                  <c:v>44315</c:v>
                </c:pt>
                <c:pt idx="86" formatCode="[$]d\ mmm\ yyyy;@" c16r2:formatcode2="[$-en-NG,1]d\ mmm\ yyyy;@">
                  <c:v>44316</c:v>
                </c:pt>
                <c:pt idx="87" formatCode="[$]d\ mmm\ yyyy;@" c16r2:formatcode2="[$-en-NG,1]d\ mmm\ yyyy;@">
                  <c:v>44320</c:v>
                </c:pt>
                <c:pt idx="88" formatCode="[$]d\ mmm\ yyyy;@" c16r2:formatcode2="[$-en-NG,1]d\ mmm\ yyyy;@">
                  <c:v>44321</c:v>
                </c:pt>
                <c:pt idx="89" formatCode="[$]d\ mmm\ yyyy;@" c16r2:formatcode2="[$-en-NG,1]d\ mmm\ yyyy;@">
                  <c:v>44322</c:v>
                </c:pt>
                <c:pt idx="90" formatCode="[$]d\ mmm\ yyyy;@" c16r2:formatcode2="[$-en-NG,1]d\ mmm\ yyyy;@">
                  <c:v>44323</c:v>
                </c:pt>
                <c:pt idx="91" formatCode="[$]d\ mmm\ yyyy;@" c16r2:formatcode2="[$-en-NG,1]d\ mmm\ yyyy;@">
                  <c:v>44326</c:v>
                </c:pt>
                <c:pt idx="92" formatCode="[$]d\ mmm\ yyyy;@" c16r2:formatcode2="[$-en-NG,1]d\ mmm\ yyyy;@">
                  <c:v>44327</c:v>
                </c:pt>
                <c:pt idx="93" formatCode="[$]d\ mmm\ yyyy;@" c16r2:formatcode2="[$-en-NG,1]d\ mmm\ yyyy;@">
                  <c:v>44328</c:v>
                </c:pt>
                <c:pt idx="94" formatCode="[$]d\ mmm\ yyyy;@" c16r2:formatcode2="[$-en-NG,1]d\ mmm\ yyyy;@">
                  <c:v>44329</c:v>
                </c:pt>
                <c:pt idx="95" formatCode="[$]d\ mmm\ yyyy;@" c16r2:formatcode2="[$-en-NG,1]d\ mmm\ yyyy;@">
                  <c:v>44330</c:v>
                </c:pt>
                <c:pt idx="96" formatCode="[$]d\ mmm\ yyyy;@" c16r2:formatcode2="[$-en-NG,1]d\ mmm\ yyyy;@">
                  <c:v>44333</c:v>
                </c:pt>
                <c:pt idx="97" formatCode="[$]d\ mmm\ yyyy;@" c16r2:formatcode2="[$-en-NG,1]d\ mmm\ yyyy;@">
                  <c:v>44334</c:v>
                </c:pt>
                <c:pt idx="98" formatCode="[$]d\ mmm\ yyyy;@" c16r2:formatcode2="[$-en-NG,1]d\ mmm\ yyyy;@">
                  <c:v>44335</c:v>
                </c:pt>
                <c:pt idx="99" formatCode="[$]d\ mmm\ yyyy;@" c16r2:formatcode2="[$-en-NG,1]d\ mmm\ yyyy;@">
                  <c:v>44336</c:v>
                </c:pt>
                <c:pt idx="100" formatCode="[$]d\ mmm\ yyyy;@" c16r2:formatcode2="[$-en-NG,1]d\ mmm\ yyyy;@">
                  <c:v>44337</c:v>
                </c:pt>
                <c:pt idx="101" formatCode="[$]d\ mmm\ yyyy;@" c16r2:formatcode2="[$-en-NG,1]d\ mmm\ yyyy;@">
                  <c:v>44340</c:v>
                </c:pt>
                <c:pt idx="102" formatCode="[$]d\ mmm\ yyyy;@" c16r2:formatcode2="[$-en-NG,1]d\ mmm\ yyyy;@">
                  <c:v>44341</c:v>
                </c:pt>
                <c:pt idx="103" formatCode="[$]d\ mmm\ yyyy;@" c16r2:formatcode2="[$-en-NG,1]d\ mmm\ yyyy;@">
                  <c:v>44342</c:v>
                </c:pt>
                <c:pt idx="104" formatCode="[$]d\ mmm\ yyyy;@" c16r2:formatcode2="[$-en-NG,1]d\ mmm\ yyyy;@">
                  <c:v>44343</c:v>
                </c:pt>
                <c:pt idx="105" formatCode="[$]d\ mmm\ yyyy;@" c16r2:formatcode2="[$-en-NG,1]d\ mmm\ yyyy;@">
                  <c:v>44344</c:v>
                </c:pt>
                <c:pt idx="106" formatCode="[$]d\ mmm\ yyyy;@" c16r2:formatcode2="[$-en-NG,1]d\ mmm\ yyyy;@">
                  <c:v>44348</c:v>
                </c:pt>
                <c:pt idx="107" formatCode="[$]d\ mmm\ yyyy;@" c16r2:formatcode2="[$-en-NG,1]d\ mmm\ yyyy;@">
                  <c:v>44349</c:v>
                </c:pt>
                <c:pt idx="108" formatCode="[$]d\ mmm\ yyyy;@" c16r2:formatcode2="[$-en-NG,1]d\ mmm\ yyyy;@">
                  <c:v>44350</c:v>
                </c:pt>
                <c:pt idx="109" formatCode="[$]d\ mmm\ yyyy;@" c16r2:formatcode2="[$-en-NG,1]d\ mmm\ yyyy;@">
                  <c:v>44351</c:v>
                </c:pt>
                <c:pt idx="110" formatCode="[$]d\ mmm\ yyyy;@" c16r2:formatcode2="[$-en-NG,1]d\ mmm\ yyyy;@">
                  <c:v>44354</c:v>
                </c:pt>
                <c:pt idx="111" formatCode="[$]d\ mmm\ yyyy;@" c16r2:formatcode2="[$-en-NG,1]d\ mmm\ yyyy;@">
                  <c:v>44355</c:v>
                </c:pt>
                <c:pt idx="112" formatCode="[$]d\ mmm\ yyyy;@" c16r2:formatcode2="[$-en-NG,1]d\ mmm\ yyyy;@">
                  <c:v>44356</c:v>
                </c:pt>
                <c:pt idx="113" formatCode="[$]d\ mmm\ yyyy;@" c16r2:formatcode2="[$-en-NG,1]d\ mmm\ yyyy;@">
                  <c:v>44357</c:v>
                </c:pt>
                <c:pt idx="114" formatCode="[$]d\ mmm\ yyyy;@" c16r2:formatcode2="[$-en-NG,1]d\ mmm\ yyyy;@">
                  <c:v>44358</c:v>
                </c:pt>
                <c:pt idx="115" formatCode="[$]d\ mmm\ yyyy;@" c16r2:formatcode2="[$-en-NG,1]d\ mmm\ yyyy;@">
                  <c:v>44361</c:v>
                </c:pt>
                <c:pt idx="116" formatCode="[$]d\ mmm\ yyyy;@" c16r2:formatcode2="[$-en-NG,1]d\ mmm\ yyyy;@">
                  <c:v>44362</c:v>
                </c:pt>
                <c:pt idx="117" formatCode="[$]d\ mmm\ yyyy;@" c16r2:formatcode2="[$-en-NG,1]d\ mmm\ yyyy;@">
                  <c:v>44363</c:v>
                </c:pt>
                <c:pt idx="118" formatCode="[$]d\ mmm\ yyyy;@" c16r2:formatcode2="[$-en-NG,1]d\ mmm\ yyyy;@">
                  <c:v>44364</c:v>
                </c:pt>
                <c:pt idx="119" formatCode="[$]d\ mmm\ yyyy;@" c16r2:formatcode2="[$-en-NG,1]d\ mmm\ yyyy;@">
                  <c:v>44365</c:v>
                </c:pt>
                <c:pt idx="120" formatCode="[$]d\ mmm\ yyyy;@" c16r2:formatcode2="[$-en-NG,1]d\ mmm\ yyyy;@">
                  <c:v>44368</c:v>
                </c:pt>
                <c:pt idx="121" formatCode="[$]d\ mmm\ yyyy;@" c16r2:formatcode2="[$-en-NG,1]d\ mmm\ yyyy;@">
                  <c:v>44369</c:v>
                </c:pt>
                <c:pt idx="122" formatCode="[$]d\ mmm\ yyyy;@" c16r2:formatcode2="[$-en-NG,1]d\ mmm\ yyyy;@">
                  <c:v>44370</c:v>
                </c:pt>
                <c:pt idx="123" formatCode="[$]d\ mmm\ yyyy;@" c16r2:formatcode2="[$-en-NG,1]d\ mmm\ yyyy;@">
                  <c:v>44371</c:v>
                </c:pt>
                <c:pt idx="124" formatCode="[$]d\ mmm\ yyyy;@" c16r2:formatcode2="[$-en-NG,1]d\ mmm\ yyyy;@">
                  <c:v>44372</c:v>
                </c:pt>
                <c:pt idx="125" formatCode="[$]d\ mmm\ yyyy;@" c16r2:formatcode2="[$-en-NG,1]d\ mmm\ yyyy;@">
                  <c:v>44375</c:v>
                </c:pt>
                <c:pt idx="126" formatCode="[$]d\ mmm\ yyyy;@" c16r2:formatcode2="[$-en-NG,1]d\ mmm\ yyyy;@">
                  <c:v>44376</c:v>
                </c:pt>
                <c:pt idx="127" formatCode="[$]d\ mmm\ yyyy;@" c16r2:formatcode2="[$-en-NG,1]d\ mmm\ yyyy;@">
                  <c:v>44377</c:v>
                </c:pt>
                <c:pt idx="128" formatCode="[$]d\ mmm\ yyyy;@" c16r2:formatcode2="[$-en-NG,1]d\ mmm\ yyyy;@">
                  <c:v>44378</c:v>
                </c:pt>
                <c:pt idx="129" formatCode="[$]d\ mmm\ yyyy;@" c16r2:formatcode2="[$-en-NG,1]d\ mmm\ yyyy;@">
                  <c:v>44379</c:v>
                </c:pt>
                <c:pt idx="130" formatCode="[$]d\ mmm\ yyyy;@" c16r2:formatcode2="[$-en-NG,1]d\ mmm\ yyyy;@">
                  <c:v>44382</c:v>
                </c:pt>
                <c:pt idx="131" formatCode="[$]d\ mmm\ yyyy;@" c16r2:formatcode2="[$-en-NG,1]d\ mmm\ yyyy;@">
                  <c:v>44383</c:v>
                </c:pt>
                <c:pt idx="132" formatCode="[$]d\ mmm\ yyyy;@" c16r2:formatcode2="[$-en-NG,1]d\ mmm\ yyyy;@">
                  <c:v>44384</c:v>
                </c:pt>
                <c:pt idx="133" formatCode="[$]d\ mmm\ yyyy;@" c16r2:formatcode2="[$-en-NG,1]d\ mmm\ yyyy;@">
                  <c:v>44385</c:v>
                </c:pt>
                <c:pt idx="134">
                  <c:v>44386</c:v>
                </c:pt>
                <c:pt idx="135">
                  <c:v>44389</c:v>
                </c:pt>
                <c:pt idx="136">
                  <c:v>44390</c:v>
                </c:pt>
                <c:pt idx="137">
                  <c:v>44391</c:v>
                </c:pt>
                <c:pt idx="138">
                  <c:v>44392</c:v>
                </c:pt>
                <c:pt idx="139">
                  <c:v>44393</c:v>
                </c:pt>
                <c:pt idx="140">
                  <c:v>44396</c:v>
                </c:pt>
                <c:pt idx="141">
                  <c:v>44397</c:v>
                </c:pt>
                <c:pt idx="142">
                  <c:v>44398</c:v>
                </c:pt>
                <c:pt idx="143">
                  <c:v>44399</c:v>
                </c:pt>
                <c:pt idx="144">
                  <c:v>44400</c:v>
                </c:pt>
                <c:pt idx="145">
                  <c:v>44403</c:v>
                </c:pt>
                <c:pt idx="146">
                  <c:v>44404</c:v>
                </c:pt>
                <c:pt idx="147">
                  <c:v>44405</c:v>
                </c:pt>
                <c:pt idx="148">
                  <c:v>44406</c:v>
                </c:pt>
                <c:pt idx="149">
                  <c:v>44407</c:v>
                </c:pt>
                <c:pt idx="150">
                  <c:v>44410</c:v>
                </c:pt>
                <c:pt idx="151">
                  <c:v>44411</c:v>
                </c:pt>
                <c:pt idx="152">
                  <c:v>44412</c:v>
                </c:pt>
                <c:pt idx="153">
                  <c:v>44413</c:v>
                </c:pt>
                <c:pt idx="154" formatCode="[$]d\ mmm\ yyyy;@" c16r2:formatcode2="[$-en-NG,1]d\ mmm\ yyyy;@">
                  <c:v>44414</c:v>
                </c:pt>
                <c:pt idx="155" formatCode="[$]d\ mmm\ yyyy;@" c16r2:formatcode2="[$-en-NG,1]d\ mmm\ yyyy;@">
                  <c:v>44417</c:v>
                </c:pt>
                <c:pt idx="156" formatCode="[$]d\ mmm\ yyyy;@" c16r2:formatcode2="[$-en-NG,1]d\ mmm\ yyyy;@">
                  <c:v>44418</c:v>
                </c:pt>
                <c:pt idx="157" formatCode="[$]d\ mmm\ yyyy;@" c16r2:formatcode2="[$-en-NG,1]d\ mmm\ yyyy;@">
                  <c:v>44419</c:v>
                </c:pt>
                <c:pt idx="158" formatCode="[$]d\ mmm\ yyyy;@" c16r2:formatcode2="[$-en-NG,1]d\ mmm\ yyyy;@">
                  <c:v>44420</c:v>
                </c:pt>
                <c:pt idx="159" formatCode="[$]d\ mmm\ yyyy;@" c16r2:formatcode2="[$-en-NG,1]d\ mmm\ yyyy;@">
                  <c:v>44421</c:v>
                </c:pt>
                <c:pt idx="160" formatCode="[$]d\ mmm\ yyyy;@" c16r2:formatcode2="[$-en-NG,1]d\ mmm\ yyyy;@">
                  <c:v>44424</c:v>
                </c:pt>
                <c:pt idx="161" formatCode="[$]d\ mmm\ yyyy;@" c16r2:formatcode2="[$-en-NG,1]d\ mmm\ yyyy;@">
                  <c:v>44425</c:v>
                </c:pt>
                <c:pt idx="162" formatCode="[$]d\ mmm\ yyyy;@" c16r2:formatcode2="[$-en-NG,1]d\ mmm\ yyyy;@">
                  <c:v>44426</c:v>
                </c:pt>
                <c:pt idx="163" formatCode="[$]d\ mmm\ yyyy;@" c16r2:formatcode2="[$-en-NG,1]d\ mmm\ yyyy;@">
                  <c:v>44427</c:v>
                </c:pt>
                <c:pt idx="164">
                  <c:v>44428</c:v>
                </c:pt>
                <c:pt idx="165">
                  <c:v>44431</c:v>
                </c:pt>
                <c:pt idx="166">
                  <c:v>44432</c:v>
                </c:pt>
                <c:pt idx="167">
                  <c:v>44433</c:v>
                </c:pt>
                <c:pt idx="168">
                  <c:v>44434</c:v>
                </c:pt>
                <c:pt idx="169">
                  <c:v>44435</c:v>
                </c:pt>
                <c:pt idx="170">
                  <c:v>44439</c:v>
                </c:pt>
                <c:pt idx="171" formatCode="[$]d\ mmm\ yyyy;@" c16r2:formatcode2="[$-en-NG,1]d\ mmm\ yyyy;@">
                  <c:v>44440</c:v>
                </c:pt>
                <c:pt idx="172" formatCode="[$]d\ mmm\ yyyy;@" c16r2:formatcode2="[$-en-NG,1]d\ mmm\ yyyy;@">
                  <c:v>44441</c:v>
                </c:pt>
                <c:pt idx="173" formatCode="[$]d\ mmm\ yyyy;@" c16r2:formatcode2="[$-en-NG,1]d\ mmm\ yyyy;@">
                  <c:v>44442</c:v>
                </c:pt>
                <c:pt idx="174">
                  <c:v>44445</c:v>
                </c:pt>
                <c:pt idx="175">
                  <c:v>44446</c:v>
                </c:pt>
                <c:pt idx="176">
                  <c:v>44447</c:v>
                </c:pt>
                <c:pt idx="177">
                  <c:v>44448</c:v>
                </c:pt>
                <c:pt idx="178">
                  <c:v>44449</c:v>
                </c:pt>
                <c:pt idx="179" formatCode="[$]d\ mmm\ yyyy;@" c16r2:formatcode2="[$-en-NG,1]d\ mmm\ yyyy;@">
                  <c:v>44452</c:v>
                </c:pt>
                <c:pt idx="180" formatCode="[$]d\ mmm\ yyyy;@" c16r2:formatcode2="[$-en-NG,1]d\ mmm\ yyyy;@">
                  <c:v>44453</c:v>
                </c:pt>
                <c:pt idx="181" formatCode="[$]d\ mmm\ yyyy;@" c16r2:formatcode2="[$-en-NG,1]d\ mmm\ yyyy;@">
                  <c:v>44454</c:v>
                </c:pt>
                <c:pt idx="182" formatCode="[$]d\ mmm\ yyyy;@" c16r2:formatcode2="[$-en-NG,1]d\ mmm\ yyyy;@">
                  <c:v>44455</c:v>
                </c:pt>
                <c:pt idx="183" formatCode="[$]d\ mmm\ yyyy;@" c16r2:formatcode2="[$-en-NG,1]d\ mmm\ yyyy;@">
                  <c:v>44456</c:v>
                </c:pt>
                <c:pt idx="184" formatCode="[$]d\ mmm\ yyyy;@" c16r2:formatcode2="[$-en-NG,1]d\ mmm\ yyyy;@">
                  <c:v>44459</c:v>
                </c:pt>
                <c:pt idx="185" formatCode="[$]d\ mmm\ yyyy;@" c16r2:formatcode2="[$-en-NG,1]d\ mmm\ yyyy;@">
                  <c:v>44460</c:v>
                </c:pt>
                <c:pt idx="186" formatCode="[$]d\ mmm\ yyyy;@" c16r2:formatcode2="[$-en-NG,1]d\ mmm\ yyyy;@">
                  <c:v>44461</c:v>
                </c:pt>
                <c:pt idx="187" formatCode="[$]d\ mmm\ yyyy;@" c16r2:formatcode2="[$-en-NG,1]d\ mmm\ yyyy;@">
                  <c:v>44462</c:v>
                </c:pt>
                <c:pt idx="188" formatCode="[$]d\ mmm\ yyyy;@" c16r2:formatcode2="[$-en-NG,1]d\ mmm\ yyyy;@">
                  <c:v>44463</c:v>
                </c:pt>
                <c:pt idx="189" formatCode="[$]d\ mmm\ yyyy;@" c16r2:formatcode2="[$-en-NG,1]d\ mmm\ yyyy;@">
                  <c:v>44466</c:v>
                </c:pt>
                <c:pt idx="190" formatCode="[$]d\ mmm\ yyyy;@" c16r2:formatcode2="[$-en-NG,1]d\ mmm\ yyyy;@">
                  <c:v>44467</c:v>
                </c:pt>
                <c:pt idx="191" formatCode="[$]d\ mmm\ yyyy;@" c16r2:formatcode2="[$-en-NG,1]d\ mmm\ yyyy;@">
                  <c:v>44468</c:v>
                </c:pt>
                <c:pt idx="192" formatCode="[$]d\ mmm\ yyyy;@" c16r2:formatcode2="[$-en-NG,1]d\ mmm\ yyyy;@">
                  <c:v>44469</c:v>
                </c:pt>
                <c:pt idx="193" formatCode="[$]d\ mmm\ yyyy;@" c16r2:formatcode2="[$-en-NG,1]d\ mmm\ yyyy;@">
                  <c:v>44470</c:v>
                </c:pt>
                <c:pt idx="194" formatCode="[$]d\ mmm\ yyyy;@" c16r2:formatcode2="[$-en-NG,1]d\ mmm\ yyyy;@">
                  <c:v>44473</c:v>
                </c:pt>
                <c:pt idx="195" formatCode="[$]d\ mmm\ yyyy;@" c16r2:formatcode2="[$-en-NG,1]d\ mmm\ yyyy;@">
                  <c:v>44474</c:v>
                </c:pt>
                <c:pt idx="196" formatCode="[$]d\ mmm\ yyyy;@" c16r2:formatcode2="[$-en-NG,1]d\ mmm\ yyyy;@">
                  <c:v>44475</c:v>
                </c:pt>
                <c:pt idx="197" formatCode="[$]d\ mmm\ yyyy;@" c16r2:formatcode2="[$-en-NG,1]d\ mmm\ yyyy;@">
                  <c:v>44476</c:v>
                </c:pt>
                <c:pt idx="198" formatCode="[$]d\ mmm\ yyyy;@" c16r2:formatcode2="[$-en-NG,1]d\ mmm\ yyyy;@">
                  <c:v>44477</c:v>
                </c:pt>
                <c:pt idx="199" formatCode="[$]d\ mmm\ yyyy;@" c16r2:formatcode2="[$-en-NG,1]d\ mmm\ yyyy;@">
                  <c:v>44480</c:v>
                </c:pt>
                <c:pt idx="200" formatCode="[$]d\ mmm\ yyyy;@" c16r2:formatcode2="[$-en-NG,1]d\ mmm\ yyyy;@">
                  <c:v>44481</c:v>
                </c:pt>
                <c:pt idx="201" formatCode="[$]d\ mmm\ yyyy;@" c16r2:formatcode2="[$-en-NG,1]d\ mmm\ yyyy;@">
                  <c:v>44482</c:v>
                </c:pt>
                <c:pt idx="202" formatCode="[$]d\ mmm\ yyyy;@" c16r2:formatcode2="[$-en-NG,1]d\ mmm\ yyyy;@">
                  <c:v>44483</c:v>
                </c:pt>
                <c:pt idx="203" formatCode="[$]d\ mmm\ yyyy;@" c16r2:formatcode2="[$-en-NG,1]d\ mmm\ yyyy;@">
                  <c:v>44484</c:v>
                </c:pt>
                <c:pt idx="204" formatCode="[$]d\ mmm\ yyyy;@" c16r2:formatcode2="[$-en-NG,1]d\ mmm\ yyyy;@">
                  <c:v>44487</c:v>
                </c:pt>
                <c:pt idx="205" formatCode="[$]d\ mmm\ yyyy;@" c16r2:formatcode2="[$-en-NG,1]d\ mmm\ yyyy;@">
                  <c:v>44488</c:v>
                </c:pt>
                <c:pt idx="206" formatCode="[$]d\ mmm\ yyyy;@" c16r2:formatcode2="[$-en-NG,1]d\ mmm\ yyyy;@">
                  <c:v>44489</c:v>
                </c:pt>
                <c:pt idx="207" formatCode="[$]d\ mmm\ yyyy;@" c16r2:formatcode2="[$-en-NG,1]d\ mmm\ yyyy;@">
                  <c:v>44490</c:v>
                </c:pt>
                <c:pt idx="208" formatCode="[$]d\ mmm\ yyyy;@" c16r2:formatcode2="[$-en-NG,1]d\ mmm\ yyyy;@">
                  <c:v>44491</c:v>
                </c:pt>
                <c:pt idx="209" formatCode="[$]d\ mmm\ yyyy;@" c16r2:formatcode2="[$-en-NG,1]d\ mmm\ yyyy;@">
                  <c:v>44494</c:v>
                </c:pt>
                <c:pt idx="210" formatCode="[$]d\ mmm\ yyyy;@" c16r2:formatcode2="[$-en-NG,1]d\ mmm\ yyyy;@">
                  <c:v>44495</c:v>
                </c:pt>
              </c:numCache>
            </c:numRef>
          </c:cat>
          <c:val>
            <c:numRef>
              <c:f>Sheet1!$B$2:$B$212</c:f>
              <c:numCache>
                <c:formatCode>#,##0.00</c:formatCode>
                <c:ptCount val="211"/>
                <c:pt idx="0">
                  <c:v>51.8</c:v>
                </c:pt>
                <c:pt idx="1">
                  <c:v>51.8</c:v>
                </c:pt>
                <c:pt idx="2">
                  <c:v>51.8</c:v>
                </c:pt>
                <c:pt idx="3">
                  <c:v>51.8</c:v>
                </c:pt>
                <c:pt idx="4">
                  <c:v>50.335000000000001</c:v>
                </c:pt>
                <c:pt idx="5">
                  <c:v>52.41</c:v>
                </c:pt>
                <c:pt idx="6">
                  <c:v>54.23</c:v>
                </c:pt>
                <c:pt idx="7">
                  <c:v>54.145000000000003</c:v>
                </c:pt>
                <c:pt idx="8">
                  <c:v>55.29</c:v>
                </c:pt>
                <c:pt idx="9">
                  <c:v>54.98</c:v>
                </c:pt>
                <c:pt idx="10">
                  <c:v>56.115000000000002</c:v>
                </c:pt>
                <c:pt idx="11">
                  <c:v>55.86</c:v>
                </c:pt>
                <c:pt idx="12">
                  <c:v>55.284999999999997</c:v>
                </c:pt>
                <c:pt idx="13">
                  <c:v>54.515000000000001</c:v>
                </c:pt>
                <c:pt idx="14">
                  <c:v>54.62</c:v>
                </c:pt>
                <c:pt idx="15">
                  <c:v>55.63</c:v>
                </c:pt>
                <c:pt idx="16">
                  <c:v>56.125</c:v>
                </c:pt>
                <c:pt idx="17">
                  <c:v>55.76</c:v>
                </c:pt>
                <c:pt idx="18">
                  <c:v>55.22</c:v>
                </c:pt>
                <c:pt idx="19">
                  <c:v>54.98</c:v>
                </c:pt>
                <c:pt idx="20">
                  <c:v>55.38</c:v>
                </c:pt>
                <c:pt idx="21">
                  <c:v>55.73</c:v>
                </c:pt>
                <c:pt idx="22">
                  <c:v>55.14</c:v>
                </c:pt>
                <c:pt idx="23">
                  <c:v>55.125</c:v>
                </c:pt>
                <c:pt idx="24">
                  <c:v>55.814999999999998</c:v>
                </c:pt>
                <c:pt idx="25">
                  <c:v>57.74</c:v>
                </c:pt>
                <c:pt idx="26">
                  <c:v>58.77</c:v>
                </c:pt>
                <c:pt idx="27">
                  <c:v>58.634999999999998</c:v>
                </c:pt>
                <c:pt idx="28">
                  <c:v>59.765000000000001</c:v>
                </c:pt>
                <c:pt idx="29">
                  <c:v>59.905000000000001</c:v>
                </c:pt>
                <c:pt idx="30">
                  <c:v>60.594999999999999</c:v>
                </c:pt>
                <c:pt idx="31">
                  <c:v>61.234999999999999</c:v>
                </c:pt>
                <c:pt idx="32">
                  <c:v>61.314999999999998</c:v>
                </c:pt>
                <c:pt idx="33">
                  <c:v>62.045000000000002</c:v>
                </c:pt>
                <c:pt idx="34">
                  <c:v>64.064999999999998</c:v>
                </c:pt>
                <c:pt idx="35">
                  <c:v>63.564999999999998</c:v>
                </c:pt>
                <c:pt idx="36">
                  <c:v>64.155000000000001</c:v>
                </c:pt>
                <c:pt idx="37">
                  <c:v>64.66</c:v>
                </c:pt>
                <c:pt idx="38">
                  <c:v>63.44</c:v>
                </c:pt>
                <c:pt idx="39">
                  <c:v>64.25</c:v>
                </c:pt>
                <c:pt idx="40">
                  <c:v>65.08</c:v>
                </c:pt>
                <c:pt idx="41">
                  <c:v>66.680000000000007</c:v>
                </c:pt>
                <c:pt idx="42">
                  <c:v>66.805000000000007</c:v>
                </c:pt>
                <c:pt idx="43">
                  <c:v>65.92</c:v>
                </c:pt>
                <c:pt idx="44">
                  <c:v>65.625</c:v>
                </c:pt>
                <c:pt idx="45">
                  <c:v>64.055000000000007</c:v>
                </c:pt>
                <c:pt idx="46">
                  <c:v>64.555000000000007</c:v>
                </c:pt>
                <c:pt idx="47">
                  <c:v>67.474999999999994</c:v>
                </c:pt>
                <c:pt idx="48">
                  <c:v>69.004999999999995</c:v>
                </c:pt>
                <c:pt idx="49">
                  <c:v>68.734999999999999</c:v>
                </c:pt>
                <c:pt idx="50">
                  <c:v>67.254999999999995</c:v>
                </c:pt>
                <c:pt idx="51">
                  <c:v>66.760000000000005</c:v>
                </c:pt>
                <c:pt idx="52">
                  <c:v>69.16</c:v>
                </c:pt>
                <c:pt idx="53">
                  <c:v>69.284999999999997</c:v>
                </c:pt>
                <c:pt idx="54">
                  <c:v>68.510000000000005</c:v>
                </c:pt>
                <c:pt idx="55">
                  <c:v>67.965000000000003</c:v>
                </c:pt>
                <c:pt idx="56">
                  <c:v>67.45</c:v>
                </c:pt>
                <c:pt idx="57">
                  <c:v>64.92</c:v>
                </c:pt>
                <c:pt idx="58">
                  <c:v>63.72</c:v>
                </c:pt>
                <c:pt idx="59">
                  <c:v>63.805</c:v>
                </c:pt>
                <c:pt idx="60">
                  <c:v>61.884999999999998</c:v>
                </c:pt>
                <c:pt idx="61">
                  <c:v>63.634999999999998</c:v>
                </c:pt>
                <c:pt idx="62">
                  <c:v>61.255000000000003</c:v>
                </c:pt>
                <c:pt idx="63">
                  <c:v>63.8</c:v>
                </c:pt>
                <c:pt idx="64">
                  <c:v>63.265000000000001</c:v>
                </c:pt>
                <c:pt idx="65">
                  <c:v>63.534999999999997</c:v>
                </c:pt>
                <c:pt idx="66">
                  <c:v>63.744999999999997</c:v>
                </c:pt>
                <c:pt idx="67">
                  <c:v>62.19</c:v>
                </c:pt>
                <c:pt idx="68">
                  <c:v>62.365000000000002</c:v>
                </c:pt>
                <c:pt idx="69">
                  <c:v>61.024999999999999</c:v>
                </c:pt>
                <c:pt idx="70">
                  <c:v>62</c:v>
                </c:pt>
                <c:pt idx="71">
                  <c:v>62.27</c:v>
                </c:pt>
                <c:pt idx="72">
                  <c:v>62.57</c:v>
                </c:pt>
                <c:pt idx="73">
                  <c:v>63.09</c:v>
                </c:pt>
                <c:pt idx="74">
                  <c:v>65.665000000000006</c:v>
                </c:pt>
                <c:pt idx="75">
                  <c:v>65.534999999999997</c:v>
                </c:pt>
                <c:pt idx="76">
                  <c:v>65.91</c:v>
                </c:pt>
                <c:pt idx="77">
                  <c:v>66.254999999999995</c:v>
                </c:pt>
                <c:pt idx="78">
                  <c:v>65.064999999999998</c:v>
                </c:pt>
                <c:pt idx="79">
                  <c:v>65.33</c:v>
                </c:pt>
                <c:pt idx="80">
                  <c:v>65.165000000000006</c:v>
                </c:pt>
                <c:pt idx="81">
                  <c:v>65.564999999999998</c:v>
                </c:pt>
                <c:pt idx="82">
                  <c:v>65.56</c:v>
                </c:pt>
                <c:pt idx="83">
                  <c:v>65.680000000000007</c:v>
                </c:pt>
                <c:pt idx="84">
                  <c:v>67.5</c:v>
                </c:pt>
                <c:pt idx="85">
                  <c:v>68.150000000000006</c:v>
                </c:pt>
                <c:pt idx="86">
                  <c:v>67.025000000000006</c:v>
                </c:pt>
                <c:pt idx="87">
                  <c:v>69.234999999999999</c:v>
                </c:pt>
                <c:pt idx="88">
                  <c:v>70.3</c:v>
                </c:pt>
                <c:pt idx="89">
                  <c:v>69.09</c:v>
                </c:pt>
                <c:pt idx="90">
                  <c:v>68.8</c:v>
                </c:pt>
                <c:pt idx="91">
                  <c:v>68.644999999999996</c:v>
                </c:pt>
                <c:pt idx="92">
                  <c:v>68.905000000000001</c:v>
                </c:pt>
                <c:pt idx="93">
                  <c:v>70.209999999999994</c:v>
                </c:pt>
                <c:pt idx="94">
                  <c:v>68.004999999999995</c:v>
                </c:pt>
                <c:pt idx="95">
                  <c:v>69.034999999999997</c:v>
                </c:pt>
                <c:pt idx="96">
                  <c:v>69.72</c:v>
                </c:pt>
                <c:pt idx="97">
                  <c:v>69.67</c:v>
                </c:pt>
                <c:pt idx="98">
                  <c:v>66.44</c:v>
                </c:pt>
                <c:pt idx="99">
                  <c:v>66.599999999999994</c:v>
                </c:pt>
                <c:pt idx="100">
                  <c:v>66.885000000000005</c:v>
                </c:pt>
                <c:pt idx="101">
                  <c:v>68.364999999999995</c:v>
                </c:pt>
                <c:pt idx="102">
                  <c:v>68.75</c:v>
                </c:pt>
                <c:pt idx="103">
                  <c:v>68.930000000000007</c:v>
                </c:pt>
                <c:pt idx="104">
                  <c:v>69.08</c:v>
                </c:pt>
                <c:pt idx="105">
                  <c:v>69.504999999999995</c:v>
                </c:pt>
                <c:pt idx="106">
                  <c:v>69.319999999999993</c:v>
                </c:pt>
                <c:pt idx="107">
                  <c:v>69.87</c:v>
                </c:pt>
                <c:pt idx="108">
                  <c:v>69.885000000000005</c:v>
                </c:pt>
                <c:pt idx="109">
                  <c:v>70.680000000000007</c:v>
                </c:pt>
                <c:pt idx="110">
                  <c:v>70.515000000000001</c:v>
                </c:pt>
                <c:pt idx="111">
                  <c:v>70.92</c:v>
                </c:pt>
                <c:pt idx="112">
                  <c:v>71.39</c:v>
                </c:pt>
                <c:pt idx="113">
                  <c:v>71.709999999999994</c:v>
                </c:pt>
                <c:pt idx="114">
                  <c:v>72.045000000000002</c:v>
                </c:pt>
                <c:pt idx="115">
                  <c:v>72.534999999999997</c:v>
                </c:pt>
                <c:pt idx="116">
                  <c:v>73.135000000000005</c:v>
                </c:pt>
                <c:pt idx="117">
                  <c:v>74.465000000000003</c:v>
                </c:pt>
                <c:pt idx="118">
                  <c:v>72.575000000000003</c:v>
                </c:pt>
                <c:pt idx="119">
                  <c:v>73.375</c:v>
                </c:pt>
                <c:pt idx="120">
                  <c:v>74.284999999999997</c:v>
                </c:pt>
                <c:pt idx="121">
                  <c:v>74.844999999999999</c:v>
                </c:pt>
                <c:pt idx="122">
                  <c:v>75.87</c:v>
                </c:pt>
                <c:pt idx="123">
                  <c:v>75.77</c:v>
                </c:pt>
                <c:pt idx="124">
                  <c:v>76.435000000000002</c:v>
                </c:pt>
                <c:pt idx="125">
                  <c:v>75.165000000000006</c:v>
                </c:pt>
                <c:pt idx="126">
                  <c:v>75.95</c:v>
                </c:pt>
                <c:pt idx="127">
                  <c:v>76.19</c:v>
                </c:pt>
                <c:pt idx="128">
                  <c:v>77.254999999999995</c:v>
                </c:pt>
                <c:pt idx="129">
                  <c:v>77.614999999999995</c:v>
                </c:pt>
                <c:pt idx="130">
                  <c:v>78.385000000000005</c:v>
                </c:pt>
                <c:pt idx="131">
                  <c:v>76.114999999999995</c:v>
                </c:pt>
                <c:pt idx="132">
                  <c:v>74.194999999999993</c:v>
                </c:pt>
                <c:pt idx="133">
                  <c:v>74.885000000000005</c:v>
                </c:pt>
                <c:pt idx="134">
                  <c:v>77.010000000000005</c:v>
                </c:pt>
                <c:pt idx="135">
                  <c:v>76.27</c:v>
                </c:pt>
                <c:pt idx="136">
                  <c:v>76.78</c:v>
                </c:pt>
                <c:pt idx="137">
                  <c:v>76.97</c:v>
                </c:pt>
                <c:pt idx="138">
                  <c:v>75.415000000000006</c:v>
                </c:pt>
                <c:pt idx="139">
                  <c:v>74.515000000000001</c:v>
                </c:pt>
                <c:pt idx="140">
                  <c:v>69.75</c:v>
                </c:pt>
                <c:pt idx="141">
                  <c:v>69.62</c:v>
                </c:pt>
                <c:pt idx="142">
                  <c:v>72.265000000000001</c:v>
                </c:pt>
                <c:pt idx="143">
                  <c:v>73.2</c:v>
                </c:pt>
                <c:pt idx="144">
                  <c:v>74.194999999999993</c:v>
                </c:pt>
                <c:pt idx="145">
                  <c:v>74.66</c:v>
                </c:pt>
                <c:pt idx="146">
                  <c:v>74.790000000000006</c:v>
                </c:pt>
                <c:pt idx="147">
                  <c:v>74.83</c:v>
                </c:pt>
                <c:pt idx="148">
                  <c:v>75.625</c:v>
                </c:pt>
                <c:pt idx="149">
                  <c:v>76.305000000000007</c:v>
                </c:pt>
                <c:pt idx="150">
                  <c:v>73.95</c:v>
                </c:pt>
                <c:pt idx="151">
                  <c:v>73.394999999999996</c:v>
                </c:pt>
                <c:pt idx="152">
                  <c:v>71.92</c:v>
                </c:pt>
                <c:pt idx="153">
                  <c:v>72.135000000000005</c:v>
                </c:pt>
                <c:pt idx="154">
                  <c:v>71.265000000000001</c:v>
                </c:pt>
                <c:pt idx="155">
                  <c:v>69.605000000000004</c:v>
                </c:pt>
                <c:pt idx="156">
                  <c:v>71.69</c:v>
                </c:pt>
                <c:pt idx="157">
                  <c:v>70.69</c:v>
                </c:pt>
                <c:pt idx="158">
                  <c:v>71.62</c:v>
                </c:pt>
                <c:pt idx="159">
                  <c:v>71.58</c:v>
                </c:pt>
                <c:pt idx="160">
                  <c:v>70.150000000000006</c:v>
                </c:pt>
                <c:pt idx="161" formatCode="General">
                  <c:v>70.375</c:v>
                </c:pt>
                <c:pt idx="162" formatCode="General">
                  <c:v>69.75</c:v>
                </c:pt>
                <c:pt idx="163" formatCode="General">
                  <c:v>66.165000000000006</c:v>
                </c:pt>
                <c:pt idx="164">
                  <c:v>66.44</c:v>
                </c:pt>
                <c:pt idx="165">
                  <c:v>68.94</c:v>
                </c:pt>
                <c:pt idx="166">
                  <c:v>70.89</c:v>
                </c:pt>
                <c:pt idx="167">
                  <c:v>71.325000000000003</c:v>
                </c:pt>
                <c:pt idx="168">
                  <c:v>70.935000000000002</c:v>
                </c:pt>
                <c:pt idx="169">
                  <c:v>71.805000000000007</c:v>
                </c:pt>
                <c:pt idx="170">
                  <c:v>72.405000000000001</c:v>
                </c:pt>
                <c:pt idx="171">
                  <c:v>71.36</c:v>
                </c:pt>
                <c:pt idx="172">
                  <c:v>73.97</c:v>
                </c:pt>
                <c:pt idx="173">
                  <c:v>73.474999999999994</c:v>
                </c:pt>
                <c:pt idx="174" formatCode="0.0000">
                  <c:v>72.3</c:v>
                </c:pt>
                <c:pt idx="175" formatCode="0.0000">
                  <c:v>71.754999999999995</c:v>
                </c:pt>
                <c:pt idx="176" formatCode="0.0000">
                  <c:v>72.334999999999994</c:v>
                </c:pt>
                <c:pt idx="177" formatCode="0.0000">
                  <c:v>72.504999999999995</c:v>
                </c:pt>
                <c:pt idx="178" formatCode="0.0000">
                  <c:v>72.385000000000005</c:v>
                </c:pt>
                <c:pt idx="179">
                  <c:v>72.834999999999994</c:v>
                </c:pt>
                <c:pt idx="180">
                  <c:v>73.099999999999994</c:v>
                </c:pt>
                <c:pt idx="181">
                  <c:v>75.17</c:v>
                </c:pt>
                <c:pt idx="182">
                  <c:v>74.055000000000007</c:v>
                </c:pt>
                <c:pt idx="183">
                  <c:v>74.245000000000005</c:v>
                </c:pt>
                <c:pt idx="184">
                  <c:v>74.105000000000004</c:v>
                </c:pt>
                <c:pt idx="185">
                  <c:v>73.185000000000002</c:v>
                </c:pt>
                <c:pt idx="186">
                  <c:v>75.02</c:v>
                </c:pt>
                <c:pt idx="187">
                  <c:v>76.64</c:v>
                </c:pt>
                <c:pt idx="188">
                  <c:v>77.334999999999994</c:v>
                </c:pt>
                <c:pt idx="189">
                  <c:v>79.114999999999995</c:v>
                </c:pt>
                <c:pt idx="190">
                  <c:v>78.545000000000002</c:v>
                </c:pt>
                <c:pt idx="191">
                  <c:v>78.415000000000006</c:v>
                </c:pt>
                <c:pt idx="192">
                  <c:v>78.814999999999998</c:v>
                </c:pt>
                <c:pt idx="193">
                  <c:v>78.715000000000003</c:v>
                </c:pt>
                <c:pt idx="194">
                  <c:v>81.765000000000001</c:v>
                </c:pt>
                <c:pt idx="195">
                  <c:v>83.454999999999998</c:v>
                </c:pt>
                <c:pt idx="196">
                  <c:v>81.41</c:v>
                </c:pt>
                <c:pt idx="197">
                  <c:v>81.99</c:v>
                </c:pt>
                <c:pt idx="198">
                  <c:v>82.974999999999994</c:v>
                </c:pt>
                <c:pt idx="199">
                  <c:v>84.43</c:v>
                </c:pt>
                <c:pt idx="200">
                  <c:v>83.64</c:v>
                </c:pt>
                <c:pt idx="201">
                  <c:v>83.325000000000003</c:v>
                </c:pt>
                <c:pt idx="202">
                  <c:v>83.334999999999994</c:v>
                </c:pt>
                <c:pt idx="203">
                  <c:v>84.96</c:v>
                </c:pt>
                <c:pt idx="204">
                  <c:v>84.63</c:v>
                </c:pt>
                <c:pt idx="205">
                  <c:v>85.03</c:v>
                </c:pt>
                <c:pt idx="206">
                  <c:v>85.12</c:v>
                </c:pt>
                <c:pt idx="207">
                  <c:v>83.7</c:v>
                </c:pt>
                <c:pt idx="208">
                  <c:v>84.97</c:v>
                </c:pt>
                <c:pt idx="209">
                  <c:v>86.114999999999995</c:v>
                </c:pt>
                <c:pt idx="210">
                  <c:v>85.844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06F-432A-BAD8-3B84C3C5822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 Budget</c:v>
                </c:pt>
              </c:strCache>
            </c:strRef>
          </c:tx>
          <c:spPr>
            <a:ln w="19050" cap="rnd">
              <a:solidFill>
                <a:srgbClr val="C00000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13"/>
              <c:tx>
                <c:rich>
                  <a:bodyPr/>
                  <a:lstStyle/>
                  <a:p>
                    <a:r>
                      <a:rPr lang="en-US" dirty="0"/>
                      <a:t>$40/</a:t>
                    </a:r>
                    <a:r>
                      <a:rPr lang="en-US" dirty="0" err="1"/>
                      <a:t>bbl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7A8C-47D7-B0D9-E9358F913D7E}"/>
                </c:ext>
              </c:extLst>
            </c:dLbl>
            <c:spPr>
              <a:solidFill>
                <a:srgbClr val="FF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212</c:f>
              <c:numCache>
                <c:formatCode>[$-409]d\-mmm\-yy;@</c:formatCode>
                <c:ptCount val="211"/>
                <c:pt idx="0">
                  <c:v>44196</c:v>
                </c:pt>
                <c:pt idx="1">
                  <c:v>44197</c:v>
                </c:pt>
                <c:pt idx="2">
                  <c:v>44198</c:v>
                </c:pt>
                <c:pt idx="3">
                  <c:v>44199</c:v>
                </c:pt>
                <c:pt idx="4">
                  <c:v>44200</c:v>
                </c:pt>
                <c:pt idx="5">
                  <c:v>44201</c:v>
                </c:pt>
                <c:pt idx="6">
                  <c:v>44202</c:v>
                </c:pt>
                <c:pt idx="7">
                  <c:v>44203</c:v>
                </c:pt>
                <c:pt idx="8">
                  <c:v>44204</c:v>
                </c:pt>
                <c:pt idx="9">
                  <c:v>44207</c:v>
                </c:pt>
                <c:pt idx="10">
                  <c:v>44208</c:v>
                </c:pt>
                <c:pt idx="11">
                  <c:v>44209</c:v>
                </c:pt>
                <c:pt idx="12">
                  <c:v>44210</c:v>
                </c:pt>
                <c:pt idx="13">
                  <c:v>44211</c:v>
                </c:pt>
                <c:pt idx="14">
                  <c:v>44214</c:v>
                </c:pt>
                <c:pt idx="15">
                  <c:v>44215</c:v>
                </c:pt>
                <c:pt idx="16">
                  <c:v>44216</c:v>
                </c:pt>
                <c:pt idx="17">
                  <c:v>44217</c:v>
                </c:pt>
                <c:pt idx="18">
                  <c:v>44218</c:v>
                </c:pt>
                <c:pt idx="19">
                  <c:v>44221</c:v>
                </c:pt>
                <c:pt idx="20">
                  <c:v>44222</c:v>
                </c:pt>
                <c:pt idx="21">
                  <c:v>44223</c:v>
                </c:pt>
                <c:pt idx="22">
                  <c:v>44224</c:v>
                </c:pt>
                <c:pt idx="23">
                  <c:v>44225</c:v>
                </c:pt>
                <c:pt idx="24">
                  <c:v>44228</c:v>
                </c:pt>
                <c:pt idx="25">
                  <c:v>44229</c:v>
                </c:pt>
                <c:pt idx="26">
                  <c:v>44230</c:v>
                </c:pt>
                <c:pt idx="27">
                  <c:v>44231</c:v>
                </c:pt>
                <c:pt idx="28">
                  <c:v>44232</c:v>
                </c:pt>
                <c:pt idx="29">
                  <c:v>44235</c:v>
                </c:pt>
                <c:pt idx="30">
                  <c:v>44236</c:v>
                </c:pt>
                <c:pt idx="31">
                  <c:v>44237</c:v>
                </c:pt>
                <c:pt idx="32">
                  <c:v>44238</c:v>
                </c:pt>
                <c:pt idx="33">
                  <c:v>44239</c:v>
                </c:pt>
                <c:pt idx="34">
                  <c:v>44242</c:v>
                </c:pt>
                <c:pt idx="35">
                  <c:v>44243</c:v>
                </c:pt>
                <c:pt idx="36">
                  <c:v>44244</c:v>
                </c:pt>
                <c:pt idx="37">
                  <c:v>44245</c:v>
                </c:pt>
                <c:pt idx="38">
                  <c:v>44246</c:v>
                </c:pt>
                <c:pt idx="39" formatCode="[$]d\ mmm\ yyyy;@" c16r2:formatcode2="[$-en-NG,1]d\ mmm\ yyyy;@">
                  <c:v>44249</c:v>
                </c:pt>
                <c:pt idx="40" formatCode="[$]d\ mmm\ yyyy;@" c16r2:formatcode2="[$-en-NG,1]d\ mmm\ yyyy;@">
                  <c:v>44250</c:v>
                </c:pt>
                <c:pt idx="41" formatCode="[$]d\ mmm\ yyyy;@" c16r2:formatcode2="[$-en-NG,1]d\ mmm\ yyyy;@">
                  <c:v>44251</c:v>
                </c:pt>
                <c:pt idx="42" formatCode="[$]d\ mmm\ yyyy;@" c16r2:formatcode2="[$-en-NG,1]d\ mmm\ yyyy;@">
                  <c:v>44252</c:v>
                </c:pt>
                <c:pt idx="43" formatCode="[$]d\ mmm\ yyyy;@" c16r2:formatcode2="[$-en-NG,1]d\ mmm\ yyyy;@">
                  <c:v>44253</c:v>
                </c:pt>
                <c:pt idx="44" formatCode="[$]d\ mmm\ yyyy;@" c16r2:formatcode2="[$-en-NG,1]d\ mmm\ yyyy;@">
                  <c:v>44256</c:v>
                </c:pt>
                <c:pt idx="45" formatCode="[$]d\ mmm\ yyyy;@" c16r2:formatcode2="[$-en-NG,1]d\ mmm\ yyyy;@">
                  <c:v>44257</c:v>
                </c:pt>
                <c:pt idx="46" formatCode="[$]d\ mmm\ yyyy;@" c16r2:formatcode2="[$-en-NG,1]d\ mmm\ yyyy;@">
                  <c:v>44258</c:v>
                </c:pt>
                <c:pt idx="47" formatCode="[$]d\ mmm\ yyyy;@" c16r2:formatcode2="[$-en-NG,1]d\ mmm\ yyyy;@">
                  <c:v>44259</c:v>
                </c:pt>
                <c:pt idx="48" formatCode="[$]d\ mmm\ yyyy;@" c16r2:formatcode2="[$-en-NG,1]d\ mmm\ yyyy;@">
                  <c:v>44260</c:v>
                </c:pt>
                <c:pt idx="49" formatCode="[$]d\ mmm\ yyyy;@" c16r2:formatcode2="[$-en-NG,1]d\ mmm\ yyyy;@">
                  <c:v>44263</c:v>
                </c:pt>
                <c:pt idx="50" formatCode="[$]d\ mmm\ yyyy;@" c16r2:formatcode2="[$-en-NG,1]d\ mmm\ yyyy;@">
                  <c:v>44264</c:v>
                </c:pt>
                <c:pt idx="51" formatCode="[$]d\ mmm\ yyyy;@" c16r2:formatcode2="[$-en-NG,1]d\ mmm\ yyyy;@">
                  <c:v>44265</c:v>
                </c:pt>
                <c:pt idx="52" formatCode="[$]d\ mmm\ yyyy;@" c16r2:formatcode2="[$-en-NG,1]d\ mmm\ yyyy;@">
                  <c:v>44266</c:v>
                </c:pt>
                <c:pt idx="53" formatCode="[$]d\ mmm\ yyyy;@" c16r2:formatcode2="[$-en-NG,1]d\ mmm\ yyyy;@">
                  <c:v>44267</c:v>
                </c:pt>
                <c:pt idx="54" formatCode="[$]d\ mmm\ yyyy;@" c16r2:formatcode2="[$-en-NG,1]d\ mmm\ yyyy;@">
                  <c:v>44270</c:v>
                </c:pt>
                <c:pt idx="55" formatCode="[$]d\ mmm\ yyyy;@" c16r2:formatcode2="[$-en-NG,1]d\ mmm\ yyyy;@">
                  <c:v>44271</c:v>
                </c:pt>
                <c:pt idx="56">
                  <c:v>44272</c:v>
                </c:pt>
                <c:pt idx="57">
                  <c:v>44273</c:v>
                </c:pt>
                <c:pt idx="58">
                  <c:v>44274</c:v>
                </c:pt>
                <c:pt idx="59">
                  <c:v>44277</c:v>
                </c:pt>
                <c:pt idx="60">
                  <c:v>44278</c:v>
                </c:pt>
                <c:pt idx="61">
                  <c:v>44279</c:v>
                </c:pt>
                <c:pt idx="62">
                  <c:v>44280</c:v>
                </c:pt>
                <c:pt idx="63">
                  <c:v>44281</c:v>
                </c:pt>
                <c:pt idx="64">
                  <c:v>44284</c:v>
                </c:pt>
                <c:pt idx="65">
                  <c:v>44285</c:v>
                </c:pt>
                <c:pt idx="66">
                  <c:v>44286</c:v>
                </c:pt>
                <c:pt idx="67">
                  <c:v>44287</c:v>
                </c:pt>
                <c:pt idx="68">
                  <c:v>44292</c:v>
                </c:pt>
                <c:pt idx="69">
                  <c:v>44293</c:v>
                </c:pt>
                <c:pt idx="70">
                  <c:v>44294</c:v>
                </c:pt>
                <c:pt idx="71">
                  <c:v>44295</c:v>
                </c:pt>
                <c:pt idx="72">
                  <c:v>44298</c:v>
                </c:pt>
                <c:pt idx="73">
                  <c:v>44299</c:v>
                </c:pt>
                <c:pt idx="74" formatCode="[$]d\ mmm\ yyyy;@" c16r2:formatcode2="[$-en-NG,1]d\ mmm\ yyyy;@">
                  <c:v>44300</c:v>
                </c:pt>
                <c:pt idx="75" formatCode="[$]d\ mmm\ yyyy;@" c16r2:formatcode2="[$-en-NG,1]d\ mmm\ yyyy;@">
                  <c:v>44301</c:v>
                </c:pt>
                <c:pt idx="76" formatCode="[$]d\ mmm\ yyyy;@" c16r2:formatcode2="[$-en-NG,1]d\ mmm\ yyyy;@">
                  <c:v>44302</c:v>
                </c:pt>
                <c:pt idx="77" formatCode="[$]d\ mmm\ yyyy;@" c16r2:formatcode2="[$-en-NG,1]d\ mmm\ yyyy;@">
                  <c:v>44305</c:v>
                </c:pt>
                <c:pt idx="78" formatCode="[$]d\ mmm\ yyyy;@" c16r2:formatcode2="[$-en-NG,1]d\ mmm\ yyyy;@">
                  <c:v>44306</c:v>
                </c:pt>
                <c:pt idx="79" formatCode="[$]d\ mmm\ yyyy;@" c16r2:formatcode2="[$-en-NG,1]d\ mmm\ yyyy;@">
                  <c:v>44307</c:v>
                </c:pt>
                <c:pt idx="80" formatCode="[$]d\ mmm\ yyyy;@" c16r2:formatcode2="[$-en-NG,1]d\ mmm\ yyyy;@">
                  <c:v>44308</c:v>
                </c:pt>
                <c:pt idx="81" formatCode="[$]d\ mmm\ yyyy;@" c16r2:formatcode2="[$-en-NG,1]d\ mmm\ yyyy;@">
                  <c:v>44309</c:v>
                </c:pt>
                <c:pt idx="82" formatCode="[$]d\ mmm\ yyyy;@" c16r2:formatcode2="[$-en-NG,1]d\ mmm\ yyyy;@">
                  <c:v>44312</c:v>
                </c:pt>
                <c:pt idx="83" formatCode="[$]d\ mmm\ yyyy;@" c16r2:formatcode2="[$-en-NG,1]d\ mmm\ yyyy;@">
                  <c:v>44313</c:v>
                </c:pt>
                <c:pt idx="84" formatCode="[$]d\ mmm\ yyyy;@" c16r2:formatcode2="[$-en-NG,1]d\ mmm\ yyyy;@">
                  <c:v>44314</c:v>
                </c:pt>
                <c:pt idx="85" formatCode="[$]d\ mmm\ yyyy;@" c16r2:formatcode2="[$-en-NG,1]d\ mmm\ yyyy;@">
                  <c:v>44315</c:v>
                </c:pt>
                <c:pt idx="86" formatCode="[$]d\ mmm\ yyyy;@" c16r2:formatcode2="[$-en-NG,1]d\ mmm\ yyyy;@">
                  <c:v>44316</c:v>
                </c:pt>
                <c:pt idx="87" formatCode="[$]d\ mmm\ yyyy;@" c16r2:formatcode2="[$-en-NG,1]d\ mmm\ yyyy;@">
                  <c:v>44320</c:v>
                </c:pt>
                <c:pt idx="88" formatCode="[$]d\ mmm\ yyyy;@" c16r2:formatcode2="[$-en-NG,1]d\ mmm\ yyyy;@">
                  <c:v>44321</c:v>
                </c:pt>
                <c:pt idx="89" formatCode="[$]d\ mmm\ yyyy;@" c16r2:formatcode2="[$-en-NG,1]d\ mmm\ yyyy;@">
                  <c:v>44322</c:v>
                </c:pt>
                <c:pt idx="90" formatCode="[$]d\ mmm\ yyyy;@" c16r2:formatcode2="[$-en-NG,1]d\ mmm\ yyyy;@">
                  <c:v>44323</c:v>
                </c:pt>
                <c:pt idx="91" formatCode="[$]d\ mmm\ yyyy;@" c16r2:formatcode2="[$-en-NG,1]d\ mmm\ yyyy;@">
                  <c:v>44326</c:v>
                </c:pt>
                <c:pt idx="92" formatCode="[$]d\ mmm\ yyyy;@" c16r2:formatcode2="[$-en-NG,1]d\ mmm\ yyyy;@">
                  <c:v>44327</c:v>
                </c:pt>
                <c:pt idx="93" formatCode="[$]d\ mmm\ yyyy;@" c16r2:formatcode2="[$-en-NG,1]d\ mmm\ yyyy;@">
                  <c:v>44328</c:v>
                </c:pt>
                <c:pt idx="94" formatCode="[$]d\ mmm\ yyyy;@" c16r2:formatcode2="[$-en-NG,1]d\ mmm\ yyyy;@">
                  <c:v>44329</c:v>
                </c:pt>
                <c:pt idx="95" formatCode="[$]d\ mmm\ yyyy;@" c16r2:formatcode2="[$-en-NG,1]d\ mmm\ yyyy;@">
                  <c:v>44330</c:v>
                </c:pt>
                <c:pt idx="96" formatCode="[$]d\ mmm\ yyyy;@" c16r2:formatcode2="[$-en-NG,1]d\ mmm\ yyyy;@">
                  <c:v>44333</c:v>
                </c:pt>
                <c:pt idx="97" formatCode="[$]d\ mmm\ yyyy;@" c16r2:formatcode2="[$-en-NG,1]d\ mmm\ yyyy;@">
                  <c:v>44334</c:v>
                </c:pt>
                <c:pt idx="98" formatCode="[$]d\ mmm\ yyyy;@" c16r2:formatcode2="[$-en-NG,1]d\ mmm\ yyyy;@">
                  <c:v>44335</c:v>
                </c:pt>
                <c:pt idx="99" formatCode="[$]d\ mmm\ yyyy;@" c16r2:formatcode2="[$-en-NG,1]d\ mmm\ yyyy;@">
                  <c:v>44336</c:v>
                </c:pt>
                <c:pt idx="100" formatCode="[$]d\ mmm\ yyyy;@" c16r2:formatcode2="[$-en-NG,1]d\ mmm\ yyyy;@">
                  <c:v>44337</c:v>
                </c:pt>
                <c:pt idx="101" formatCode="[$]d\ mmm\ yyyy;@" c16r2:formatcode2="[$-en-NG,1]d\ mmm\ yyyy;@">
                  <c:v>44340</c:v>
                </c:pt>
                <c:pt idx="102" formatCode="[$]d\ mmm\ yyyy;@" c16r2:formatcode2="[$-en-NG,1]d\ mmm\ yyyy;@">
                  <c:v>44341</c:v>
                </c:pt>
                <c:pt idx="103" formatCode="[$]d\ mmm\ yyyy;@" c16r2:formatcode2="[$-en-NG,1]d\ mmm\ yyyy;@">
                  <c:v>44342</c:v>
                </c:pt>
                <c:pt idx="104" formatCode="[$]d\ mmm\ yyyy;@" c16r2:formatcode2="[$-en-NG,1]d\ mmm\ yyyy;@">
                  <c:v>44343</c:v>
                </c:pt>
                <c:pt idx="105" formatCode="[$]d\ mmm\ yyyy;@" c16r2:formatcode2="[$-en-NG,1]d\ mmm\ yyyy;@">
                  <c:v>44344</c:v>
                </c:pt>
                <c:pt idx="106" formatCode="[$]d\ mmm\ yyyy;@" c16r2:formatcode2="[$-en-NG,1]d\ mmm\ yyyy;@">
                  <c:v>44348</c:v>
                </c:pt>
                <c:pt idx="107" formatCode="[$]d\ mmm\ yyyy;@" c16r2:formatcode2="[$-en-NG,1]d\ mmm\ yyyy;@">
                  <c:v>44349</c:v>
                </c:pt>
                <c:pt idx="108" formatCode="[$]d\ mmm\ yyyy;@" c16r2:formatcode2="[$-en-NG,1]d\ mmm\ yyyy;@">
                  <c:v>44350</c:v>
                </c:pt>
                <c:pt idx="109" formatCode="[$]d\ mmm\ yyyy;@" c16r2:formatcode2="[$-en-NG,1]d\ mmm\ yyyy;@">
                  <c:v>44351</c:v>
                </c:pt>
                <c:pt idx="110" formatCode="[$]d\ mmm\ yyyy;@" c16r2:formatcode2="[$-en-NG,1]d\ mmm\ yyyy;@">
                  <c:v>44354</c:v>
                </c:pt>
                <c:pt idx="111" formatCode="[$]d\ mmm\ yyyy;@" c16r2:formatcode2="[$-en-NG,1]d\ mmm\ yyyy;@">
                  <c:v>44355</c:v>
                </c:pt>
                <c:pt idx="112" formatCode="[$]d\ mmm\ yyyy;@" c16r2:formatcode2="[$-en-NG,1]d\ mmm\ yyyy;@">
                  <c:v>44356</c:v>
                </c:pt>
                <c:pt idx="113" formatCode="[$]d\ mmm\ yyyy;@" c16r2:formatcode2="[$-en-NG,1]d\ mmm\ yyyy;@">
                  <c:v>44357</c:v>
                </c:pt>
                <c:pt idx="114" formatCode="[$]d\ mmm\ yyyy;@" c16r2:formatcode2="[$-en-NG,1]d\ mmm\ yyyy;@">
                  <c:v>44358</c:v>
                </c:pt>
                <c:pt idx="115" formatCode="[$]d\ mmm\ yyyy;@" c16r2:formatcode2="[$-en-NG,1]d\ mmm\ yyyy;@">
                  <c:v>44361</c:v>
                </c:pt>
                <c:pt idx="116" formatCode="[$]d\ mmm\ yyyy;@" c16r2:formatcode2="[$-en-NG,1]d\ mmm\ yyyy;@">
                  <c:v>44362</c:v>
                </c:pt>
                <c:pt idx="117" formatCode="[$]d\ mmm\ yyyy;@" c16r2:formatcode2="[$-en-NG,1]d\ mmm\ yyyy;@">
                  <c:v>44363</c:v>
                </c:pt>
                <c:pt idx="118" formatCode="[$]d\ mmm\ yyyy;@" c16r2:formatcode2="[$-en-NG,1]d\ mmm\ yyyy;@">
                  <c:v>44364</c:v>
                </c:pt>
                <c:pt idx="119" formatCode="[$]d\ mmm\ yyyy;@" c16r2:formatcode2="[$-en-NG,1]d\ mmm\ yyyy;@">
                  <c:v>44365</c:v>
                </c:pt>
                <c:pt idx="120" formatCode="[$]d\ mmm\ yyyy;@" c16r2:formatcode2="[$-en-NG,1]d\ mmm\ yyyy;@">
                  <c:v>44368</c:v>
                </c:pt>
                <c:pt idx="121" formatCode="[$]d\ mmm\ yyyy;@" c16r2:formatcode2="[$-en-NG,1]d\ mmm\ yyyy;@">
                  <c:v>44369</c:v>
                </c:pt>
                <c:pt idx="122" formatCode="[$]d\ mmm\ yyyy;@" c16r2:formatcode2="[$-en-NG,1]d\ mmm\ yyyy;@">
                  <c:v>44370</c:v>
                </c:pt>
                <c:pt idx="123" formatCode="[$]d\ mmm\ yyyy;@" c16r2:formatcode2="[$-en-NG,1]d\ mmm\ yyyy;@">
                  <c:v>44371</c:v>
                </c:pt>
                <c:pt idx="124" formatCode="[$]d\ mmm\ yyyy;@" c16r2:formatcode2="[$-en-NG,1]d\ mmm\ yyyy;@">
                  <c:v>44372</c:v>
                </c:pt>
                <c:pt idx="125" formatCode="[$]d\ mmm\ yyyy;@" c16r2:formatcode2="[$-en-NG,1]d\ mmm\ yyyy;@">
                  <c:v>44375</c:v>
                </c:pt>
                <c:pt idx="126" formatCode="[$]d\ mmm\ yyyy;@" c16r2:formatcode2="[$-en-NG,1]d\ mmm\ yyyy;@">
                  <c:v>44376</c:v>
                </c:pt>
                <c:pt idx="127" formatCode="[$]d\ mmm\ yyyy;@" c16r2:formatcode2="[$-en-NG,1]d\ mmm\ yyyy;@">
                  <c:v>44377</c:v>
                </c:pt>
                <c:pt idx="128" formatCode="[$]d\ mmm\ yyyy;@" c16r2:formatcode2="[$-en-NG,1]d\ mmm\ yyyy;@">
                  <c:v>44378</c:v>
                </c:pt>
                <c:pt idx="129" formatCode="[$]d\ mmm\ yyyy;@" c16r2:formatcode2="[$-en-NG,1]d\ mmm\ yyyy;@">
                  <c:v>44379</c:v>
                </c:pt>
                <c:pt idx="130" formatCode="[$]d\ mmm\ yyyy;@" c16r2:formatcode2="[$-en-NG,1]d\ mmm\ yyyy;@">
                  <c:v>44382</c:v>
                </c:pt>
                <c:pt idx="131" formatCode="[$]d\ mmm\ yyyy;@" c16r2:formatcode2="[$-en-NG,1]d\ mmm\ yyyy;@">
                  <c:v>44383</c:v>
                </c:pt>
                <c:pt idx="132" formatCode="[$]d\ mmm\ yyyy;@" c16r2:formatcode2="[$-en-NG,1]d\ mmm\ yyyy;@">
                  <c:v>44384</c:v>
                </c:pt>
                <c:pt idx="133" formatCode="[$]d\ mmm\ yyyy;@" c16r2:formatcode2="[$-en-NG,1]d\ mmm\ yyyy;@">
                  <c:v>44385</c:v>
                </c:pt>
                <c:pt idx="134">
                  <c:v>44386</c:v>
                </c:pt>
                <c:pt idx="135">
                  <c:v>44389</c:v>
                </c:pt>
                <c:pt idx="136">
                  <c:v>44390</c:v>
                </c:pt>
                <c:pt idx="137">
                  <c:v>44391</c:v>
                </c:pt>
                <c:pt idx="138">
                  <c:v>44392</c:v>
                </c:pt>
                <c:pt idx="139">
                  <c:v>44393</c:v>
                </c:pt>
                <c:pt idx="140">
                  <c:v>44396</c:v>
                </c:pt>
                <c:pt idx="141">
                  <c:v>44397</c:v>
                </c:pt>
                <c:pt idx="142">
                  <c:v>44398</c:v>
                </c:pt>
                <c:pt idx="143">
                  <c:v>44399</c:v>
                </c:pt>
                <c:pt idx="144">
                  <c:v>44400</c:v>
                </c:pt>
                <c:pt idx="145">
                  <c:v>44403</c:v>
                </c:pt>
                <c:pt idx="146">
                  <c:v>44404</c:v>
                </c:pt>
                <c:pt idx="147">
                  <c:v>44405</c:v>
                </c:pt>
                <c:pt idx="148">
                  <c:v>44406</c:v>
                </c:pt>
                <c:pt idx="149">
                  <c:v>44407</c:v>
                </c:pt>
                <c:pt idx="150">
                  <c:v>44410</c:v>
                </c:pt>
                <c:pt idx="151">
                  <c:v>44411</c:v>
                </c:pt>
                <c:pt idx="152">
                  <c:v>44412</c:v>
                </c:pt>
                <c:pt idx="153">
                  <c:v>44413</c:v>
                </c:pt>
                <c:pt idx="154" formatCode="[$]d\ mmm\ yyyy;@" c16r2:formatcode2="[$-en-NG,1]d\ mmm\ yyyy;@">
                  <c:v>44414</c:v>
                </c:pt>
                <c:pt idx="155" formatCode="[$]d\ mmm\ yyyy;@" c16r2:formatcode2="[$-en-NG,1]d\ mmm\ yyyy;@">
                  <c:v>44417</c:v>
                </c:pt>
                <c:pt idx="156" formatCode="[$]d\ mmm\ yyyy;@" c16r2:formatcode2="[$-en-NG,1]d\ mmm\ yyyy;@">
                  <c:v>44418</c:v>
                </c:pt>
                <c:pt idx="157" formatCode="[$]d\ mmm\ yyyy;@" c16r2:formatcode2="[$-en-NG,1]d\ mmm\ yyyy;@">
                  <c:v>44419</c:v>
                </c:pt>
                <c:pt idx="158" formatCode="[$]d\ mmm\ yyyy;@" c16r2:formatcode2="[$-en-NG,1]d\ mmm\ yyyy;@">
                  <c:v>44420</c:v>
                </c:pt>
                <c:pt idx="159" formatCode="[$]d\ mmm\ yyyy;@" c16r2:formatcode2="[$-en-NG,1]d\ mmm\ yyyy;@">
                  <c:v>44421</c:v>
                </c:pt>
                <c:pt idx="160" formatCode="[$]d\ mmm\ yyyy;@" c16r2:formatcode2="[$-en-NG,1]d\ mmm\ yyyy;@">
                  <c:v>44424</c:v>
                </c:pt>
                <c:pt idx="161" formatCode="[$]d\ mmm\ yyyy;@" c16r2:formatcode2="[$-en-NG,1]d\ mmm\ yyyy;@">
                  <c:v>44425</c:v>
                </c:pt>
                <c:pt idx="162" formatCode="[$]d\ mmm\ yyyy;@" c16r2:formatcode2="[$-en-NG,1]d\ mmm\ yyyy;@">
                  <c:v>44426</c:v>
                </c:pt>
                <c:pt idx="163" formatCode="[$]d\ mmm\ yyyy;@" c16r2:formatcode2="[$-en-NG,1]d\ mmm\ yyyy;@">
                  <c:v>44427</c:v>
                </c:pt>
                <c:pt idx="164">
                  <c:v>44428</c:v>
                </c:pt>
                <c:pt idx="165">
                  <c:v>44431</c:v>
                </c:pt>
                <c:pt idx="166">
                  <c:v>44432</c:v>
                </c:pt>
                <c:pt idx="167">
                  <c:v>44433</c:v>
                </c:pt>
                <c:pt idx="168">
                  <c:v>44434</c:v>
                </c:pt>
                <c:pt idx="169">
                  <c:v>44435</c:v>
                </c:pt>
                <c:pt idx="170">
                  <c:v>44439</c:v>
                </c:pt>
                <c:pt idx="171" formatCode="[$]d\ mmm\ yyyy;@" c16r2:formatcode2="[$-en-NG,1]d\ mmm\ yyyy;@">
                  <c:v>44440</c:v>
                </c:pt>
                <c:pt idx="172" formatCode="[$]d\ mmm\ yyyy;@" c16r2:formatcode2="[$-en-NG,1]d\ mmm\ yyyy;@">
                  <c:v>44441</c:v>
                </c:pt>
                <c:pt idx="173" formatCode="[$]d\ mmm\ yyyy;@" c16r2:formatcode2="[$-en-NG,1]d\ mmm\ yyyy;@">
                  <c:v>44442</c:v>
                </c:pt>
                <c:pt idx="174">
                  <c:v>44445</c:v>
                </c:pt>
                <c:pt idx="175">
                  <c:v>44446</c:v>
                </c:pt>
                <c:pt idx="176">
                  <c:v>44447</c:v>
                </c:pt>
                <c:pt idx="177">
                  <c:v>44448</c:v>
                </c:pt>
                <c:pt idx="178">
                  <c:v>44449</c:v>
                </c:pt>
                <c:pt idx="179" formatCode="[$]d\ mmm\ yyyy;@" c16r2:formatcode2="[$-en-NG,1]d\ mmm\ yyyy;@">
                  <c:v>44452</c:v>
                </c:pt>
                <c:pt idx="180" formatCode="[$]d\ mmm\ yyyy;@" c16r2:formatcode2="[$-en-NG,1]d\ mmm\ yyyy;@">
                  <c:v>44453</c:v>
                </c:pt>
                <c:pt idx="181" formatCode="[$]d\ mmm\ yyyy;@" c16r2:formatcode2="[$-en-NG,1]d\ mmm\ yyyy;@">
                  <c:v>44454</c:v>
                </c:pt>
                <c:pt idx="182" formatCode="[$]d\ mmm\ yyyy;@" c16r2:formatcode2="[$-en-NG,1]d\ mmm\ yyyy;@">
                  <c:v>44455</c:v>
                </c:pt>
                <c:pt idx="183" formatCode="[$]d\ mmm\ yyyy;@" c16r2:formatcode2="[$-en-NG,1]d\ mmm\ yyyy;@">
                  <c:v>44456</c:v>
                </c:pt>
                <c:pt idx="184" formatCode="[$]d\ mmm\ yyyy;@" c16r2:formatcode2="[$-en-NG,1]d\ mmm\ yyyy;@">
                  <c:v>44459</c:v>
                </c:pt>
                <c:pt idx="185" formatCode="[$]d\ mmm\ yyyy;@" c16r2:formatcode2="[$-en-NG,1]d\ mmm\ yyyy;@">
                  <c:v>44460</c:v>
                </c:pt>
                <c:pt idx="186" formatCode="[$]d\ mmm\ yyyy;@" c16r2:formatcode2="[$-en-NG,1]d\ mmm\ yyyy;@">
                  <c:v>44461</c:v>
                </c:pt>
                <c:pt idx="187" formatCode="[$]d\ mmm\ yyyy;@" c16r2:formatcode2="[$-en-NG,1]d\ mmm\ yyyy;@">
                  <c:v>44462</c:v>
                </c:pt>
                <c:pt idx="188" formatCode="[$]d\ mmm\ yyyy;@" c16r2:formatcode2="[$-en-NG,1]d\ mmm\ yyyy;@">
                  <c:v>44463</c:v>
                </c:pt>
                <c:pt idx="189" formatCode="[$]d\ mmm\ yyyy;@" c16r2:formatcode2="[$-en-NG,1]d\ mmm\ yyyy;@">
                  <c:v>44466</c:v>
                </c:pt>
                <c:pt idx="190" formatCode="[$]d\ mmm\ yyyy;@" c16r2:formatcode2="[$-en-NG,1]d\ mmm\ yyyy;@">
                  <c:v>44467</c:v>
                </c:pt>
                <c:pt idx="191" formatCode="[$]d\ mmm\ yyyy;@" c16r2:formatcode2="[$-en-NG,1]d\ mmm\ yyyy;@">
                  <c:v>44468</c:v>
                </c:pt>
                <c:pt idx="192" formatCode="[$]d\ mmm\ yyyy;@" c16r2:formatcode2="[$-en-NG,1]d\ mmm\ yyyy;@">
                  <c:v>44469</c:v>
                </c:pt>
                <c:pt idx="193" formatCode="[$]d\ mmm\ yyyy;@" c16r2:formatcode2="[$-en-NG,1]d\ mmm\ yyyy;@">
                  <c:v>44470</c:v>
                </c:pt>
                <c:pt idx="194" formatCode="[$]d\ mmm\ yyyy;@" c16r2:formatcode2="[$-en-NG,1]d\ mmm\ yyyy;@">
                  <c:v>44473</c:v>
                </c:pt>
                <c:pt idx="195" formatCode="[$]d\ mmm\ yyyy;@" c16r2:formatcode2="[$-en-NG,1]d\ mmm\ yyyy;@">
                  <c:v>44474</c:v>
                </c:pt>
                <c:pt idx="196" formatCode="[$]d\ mmm\ yyyy;@" c16r2:formatcode2="[$-en-NG,1]d\ mmm\ yyyy;@">
                  <c:v>44475</c:v>
                </c:pt>
                <c:pt idx="197" formatCode="[$]d\ mmm\ yyyy;@" c16r2:formatcode2="[$-en-NG,1]d\ mmm\ yyyy;@">
                  <c:v>44476</c:v>
                </c:pt>
                <c:pt idx="198" formatCode="[$]d\ mmm\ yyyy;@" c16r2:formatcode2="[$-en-NG,1]d\ mmm\ yyyy;@">
                  <c:v>44477</c:v>
                </c:pt>
                <c:pt idx="199" formatCode="[$]d\ mmm\ yyyy;@" c16r2:formatcode2="[$-en-NG,1]d\ mmm\ yyyy;@">
                  <c:v>44480</c:v>
                </c:pt>
                <c:pt idx="200" formatCode="[$]d\ mmm\ yyyy;@" c16r2:formatcode2="[$-en-NG,1]d\ mmm\ yyyy;@">
                  <c:v>44481</c:v>
                </c:pt>
                <c:pt idx="201" formatCode="[$]d\ mmm\ yyyy;@" c16r2:formatcode2="[$-en-NG,1]d\ mmm\ yyyy;@">
                  <c:v>44482</c:v>
                </c:pt>
                <c:pt idx="202" formatCode="[$]d\ mmm\ yyyy;@" c16r2:formatcode2="[$-en-NG,1]d\ mmm\ yyyy;@">
                  <c:v>44483</c:v>
                </c:pt>
                <c:pt idx="203" formatCode="[$]d\ mmm\ yyyy;@" c16r2:formatcode2="[$-en-NG,1]d\ mmm\ yyyy;@">
                  <c:v>44484</c:v>
                </c:pt>
                <c:pt idx="204" formatCode="[$]d\ mmm\ yyyy;@" c16r2:formatcode2="[$-en-NG,1]d\ mmm\ yyyy;@">
                  <c:v>44487</c:v>
                </c:pt>
                <c:pt idx="205" formatCode="[$]d\ mmm\ yyyy;@" c16r2:formatcode2="[$-en-NG,1]d\ mmm\ yyyy;@">
                  <c:v>44488</c:v>
                </c:pt>
                <c:pt idx="206" formatCode="[$]d\ mmm\ yyyy;@" c16r2:formatcode2="[$-en-NG,1]d\ mmm\ yyyy;@">
                  <c:v>44489</c:v>
                </c:pt>
                <c:pt idx="207" formatCode="[$]d\ mmm\ yyyy;@" c16r2:formatcode2="[$-en-NG,1]d\ mmm\ yyyy;@">
                  <c:v>44490</c:v>
                </c:pt>
                <c:pt idx="208" formatCode="[$]d\ mmm\ yyyy;@" c16r2:formatcode2="[$-en-NG,1]d\ mmm\ yyyy;@">
                  <c:v>44491</c:v>
                </c:pt>
                <c:pt idx="209" formatCode="[$]d\ mmm\ yyyy;@" c16r2:formatcode2="[$-en-NG,1]d\ mmm\ yyyy;@">
                  <c:v>44494</c:v>
                </c:pt>
                <c:pt idx="210" formatCode="[$]d\ mmm\ yyyy;@" c16r2:formatcode2="[$-en-NG,1]d\ mmm\ yyyy;@">
                  <c:v>44495</c:v>
                </c:pt>
              </c:numCache>
            </c:numRef>
          </c:cat>
          <c:val>
            <c:numRef>
              <c:f>Sheet1!$C$2:$C$212</c:f>
              <c:numCache>
                <c:formatCode>General</c:formatCode>
                <c:ptCount val="211"/>
                <c:pt idx="0">
                  <c:v>40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0</c:v>
                </c:pt>
                <c:pt idx="5">
                  <c:v>40</c:v>
                </c:pt>
                <c:pt idx="6">
                  <c:v>40</c:v>
                </c:pt>
                <c:pt idx="7">
                  <c:v>40</c:v>
                </c:pt>
                <c:pt idx="8">
                  <c:v>40</c:v>
                </c:pt>
                <c:pt idx="9">
                  <c:v>40</c:v>
                </c:pt>
                <c:pt idx="10">
                  <c:v>40</c:v>
                </c:pt>
                <c:pt idx="11">
                  <c:v>40</c:v>
                </c:pt>
                <c:pt idx="12">
                  <c:v>40</c:v>
                </c:pt>
                <c:pt idx="13">
                  <c:v>40</c:v>
                </c:pt>
                <c:pt idx="14">
                  <c:v>40</c:v>
                </c:pt>
                <c:pt idx="15">
                  <c:v>40</c:v>
                </c:pt>
                <c:pt idx="16">
                  <c:v>40</c:v>
                </c:pt>
                <c:pt idx="17">
                  <c:v>40</c:v>
                </c:pt>
                <c:pt idx="18">
                  <c:v>40</c:v>
                </c:pt>
                <c:pt idx="19">
                  <c:v>40</c:v>
                </c:pt>
                <c:pt idx="20">
                  <c:v>40</c:v>
                </c:pt>
                <c:pt idx="21">
                  <c:v>40</c:v>
                </c:pt>
                <c:pt idx="22">
                  <c:v>40</c:v>
                </c:pt>
                <c:pt idx="23">
                  <c:v>40</c:v>
                </c:pt>
                <c:pt idx="24">
                  <c:v>40</c:v>
                </c:pt>
                <c:pt idx="25">
                  <c:v>40</c:v>
                </c:pt>
                <c:pt idx="26">
                  <c:v>40</c:v>
                </c:pt>
                <c:pt idx="27">
                  <c:v>40</c:v>
                </c:pt>
                <c:pt idx="28">
                  <c:v>40</c:v>
                </c:pt>
                <c:pt idx="29">
                  <c:v>40</c:v>
                </c:pt>
                <c:pt idx="30">
                  <c:v>40</c:v>
                </c:pt>
                <c:pt idx="31">
                  <c:v>40</c:v>
                </c:pt>
                <c:pt idx="32">
                  <c:v>40</c:v>
                </c:pt>
                <c:pt idx="33">
                  <c:v>40</c:v>
                </c:pt>
                <c:pt idx="34">
                  <c:v>40</c:v>
                </c:pt>
                <c:pt idx="35">
                  <c:v>40</c:v>
                </c:pt>
                <c:pt idx="36">
                  <c:v>40</c:v>
                </c:pt>
                <c:pt idx="37">
                  <c:v>40</c:v>
                </c:pt>
                <c:pt idx="38">
                  <c:v>40</c:v>
                </c:pt>
                <c:pt idx="39">
                  <c:v>40</c:v>
                </c:pt>
                <c:pt idx="40">
                  <c:v>40</c:v>
                </c:pt>
                <c:pt idx="41">
                  <c:v>40</c:v>
                </c:pt>
                <c:pt idx="42">
                  <c:v>40</c:v>
                </c:pt>
                <c:pt idx="43">
                  <c:v>40</c:v>
                </c:pt>
                <c:pt idx="44">
                  <c:v>40</c:v>
                </c:pt>
                <c:pt idx="45">
                  <c:v>40</c:v>
                </c:pt>
                <c:pt idx="46">
                  <c:v>40</c:v>
                </c:pt>
                <c:pt idx="47">
                  <c:v>40</c:v>
                </c:pt>
                <c:pt idx="48">
                  <c:v>40</c:v>
                </c:pt>
                <c:pt idx="49">
                  <c:v>40</c:v>
                </c:pt>
                <c:pt idx="50">
                  <c:v>40</c:v>
                </c:pt>
                <c:pt idx="51">
                  <c:v>40</c:v>
                </c:pt>
                <c:pt idx="52">
                  <c:v>40</c:v>
                </c:pt>
                <c:pt idx="53">
                  <c:v>40</c:v>
                </c:pt>
                <c:pt idx="54">
                  <c:v>40</c:v>
                </c:pt>
                <c:pt idx="55">
                  <c:v>40</c:v>
                </c:pt>
                <c:pt idx="56">
                  <c:v>40</c:v>
                </c:pt>
                <c:pt idx="57">
                  <c:v>40</c:v>
                </c:pt>
                <c:pt idx="58">
                  <c:v>40</c:v>
                </c:pt>
                <c:pt idx="59">
                  <c:v>40</c:v>
                </c:pt>
                <c:pt idx="60">
                  <c:v>40</c:v>
                </c:pt>
                <c:pt idx="61">
                  <c:v>40</c:v>
                </c:pt>
                <c:pt idx="62">
                  <c:v>40</c:v>
                </c:pt>
                <c:pt idx="63">
                  <c:v>40</c:v>
                </c:pt>
                <c:pt idx="64">
                  <c:v>40</c:v>
                </c:pt>
                <c:pt idx="65">
                  <c:v>40</c:v>
                </c:pt>
                <c:pt idx="66">
                  <c:v>40</c:v>
                </c:pt>
                <c:pt idx="67">
                  <c:v>40</c:v>
                </c:pt>
                <c:pt idx="68">
                  <c:v>40</c:v>
                </c:pt>
                <c:pt idx="69">
                  <c:v>40</c:v>
                </c:pt>
                <c:pt idx="70">
                  <c:v>40</c:v>
                </c:pt>
                <c:pt idx="71">
                  <c:v>40</c:v>
                </c:pt>
                <c:pt idx="72">
                  <c:v>40</c:v>
                </c:pt>
                <c:pt idx="73">
                  <c:v>40</c:v>
                </c:pt>
                <c:pt idx="74">
                  <c:v>40</c:v>
                </c:pt>
                <c:pt idx="75">
                  <c:v>40</c:v>
                </c:pt>
                <c:pt idx="76">
                  <c:v>40</c:v>
                </c:pt>
                <c:pt idx="77">
                  <c:v>40</c:v>
                </c:pt>
                <c:pt idx="78">
                  <c:v>40</c:v>
                </c:pt>
                <c:pt idx="79">
                  <c:v>40</c:v>
                </c:pt>
                <c:pt idx="80">
                  <c:v>40</c:v>
                </c:pt>
                <c:pt idx="81">
                  <c:v>40</c:v>
                </c:pt>
                <c:pt idx="82">
                  <c:v>40</c:v>
                </c:pt>
                <c:pt idx="83">
                  <c:v>40</c:v>
                </c:pt>
                <c:pt idx="84">
                  <c:v>40</c:v>
                </c:pt>
                <c:pt idx="85">
                  <c:v>40</c:v>
                </c:pt>
                <c:pt idx="86">
                  <c:v>40</c:v>
                </c:pt>
                <c:pt idx="87">
                  <c:v>40</c:v>
                </c:pt>
                <c:pt idx="88">
                  <c:v>40</c:v>
                </c:pt>
                <c:pt idx="89">
                  <c:v>40</c:v>
                </c:pt>
                <c:pt idx="90">
                  <c:v>40</c:v>
                </c:pt>
                <c:pt idx="91">
                  <c:v>40</c:v>
                </c:pt>
                <c:pt idx="92">
                  <c:v>40</c:v>
                </c:pt>
                <c:pt idx="93">
                  <c:v>40</c:v>
                </c:pt>
                <c:pt idx="94">
                  <c:v>40</c:v>
                </c:pt>
                <c:pt idx="95">
                  <c:v>40</c:v>
                </c:pt>
                <c:pt idx="96">
                  <c:v>40</c:v>
                </c:pt>
                <c:pt idx="97">
                  <c:v>40</c:v>
                </c:pt>
                <c:pt idx="98">
                  <c:v>40</c:v>
                </c:pt>
                <c:pt idx="99">
                  <c:v>40</c:v>
                </c:pt>
                <c:pt idx="100">
                  <c:v>40</c:v>
                </c:pt>
                <c:pt idx="101">
                  <c:v>40</c:v>
                </c:pt>
                <c:pt idx="102">
                  <c:v>40</c:v>
                </c:pt>
                <c:pt idx="103">
                  <c:v>40</c:v>
                </c:pt>
                <c:pt idx="104">
                  <c:v>40</c:v>
                </c:pt>
                <c:pt idx="105">
                  <c:v>40</c:v>
                </c:pt>
                <c:pt idx="106">
                  <c:v>40</c:v>
                </c:pt>
                <c:pt idx="107">
                  <c:v>40</c:v>
                </c:pt>
                <c:pt idx="108">
                  <c:v>40</c:v>
                </c:pt>
                <c:pt idx="109">
                  <c:v>40</c:v>
                </c:pt>
                <c:pt idx="110">
                  <c:v>40</c:v>
                </c:pt>
                <c:pt idx="111">
                  <c:v>40</c:v>
                </c:pt>
                <c:pt idx="112">
                  <c:v>40</c:v>
                </c:pt>
                <c:pt idx="113">
                  <c:v>40</c:v>
                </c:pt>
                <c:pt idx="114">
                  <c:v>40</c:v>
                </c:pt>
                <c:pt idx="115">
                  <c:v>40</c:v>
                </c:pt>
                <c:pt idx="116">
                  <c:v>40</c:v>
                </c:pt>
                <c:pt idx="117">
                  <c:v>40</c:v>
                </c:pt>
                <c:pt idx="118">
                  <c:v>40</c:v>
                </c:pt>
                <c:pt idx="119">
                  <c:v>40</c:v>
                </c:pt>
                <c:pt idx="120">
                  <c:v>40</c:v>
                </c:pt>
                <c:pt idx="121">
                  <c:v>40</c:v>
                </c:pt>
                <c:pt idx="122">
                  <c:v>40</c:v>
                </c:pt>
                <c:pt idx="123">
                  <c:v>40</c:v>
                </c:pt>
                <c:pt idx="124">
                  <c:v>40</c:v>
                </c:pt>
                <c:pt idx="125">
                  <c:v>40</c:v>
                </c:pt>
                <c:pt idx="126">
                  <c:v>40</c:v>
                </c:pt>
                <c:pt idx="127">
                  <c:v>40</c:v>
                </c:pt>
                <c:pt idx="128">
                  <c:v>40</c:v>
                </c:pt>
                <c:pt idx="129">
                  <c:v>40</c:v>
                </c:pt>
                <c:pt idx="130">
                  <c:v>40</c:v>
                </c:pt>
                <c:pt idx="131">
                  <c:v>40</c:v>
                </c:pt>
                <c:pt idx="132">
                  <c:v>40</c:v>
                </c:pt>
                <c:pt idx="133">
                  <c:v>40</c:v>
                </c:pt>
                <c:pt idx="134">
                  <c:v>40</c:v>
                </c:pt>
                <c:pt idx="135">
                  <c:v>40</c:v>
                </c:pt>
                <c:pt idx="136">
                  <c:v>40</c:v>
                </c:pt>
                <c:pt idx="137">
                  <c:v>40</c:v>
                </c:pt>
                <c:pt idx="138">
                  <c:v>40</c:v>
                </c:pt>
                <c:pt idx="139">
                  <c:v>40</c:v>
                </c:pt>
                <c:pt idx="140">
                  <c:v>40</c:v>
                </c:pt>
                <c:pt idx="141">
                  <c:v>40</c:v>
                </c:pt>
                <c:pt idx="142">
                  <c:v>40</c:v>
                </c:pt>
                <c:pt idx="143">
                  <c:v>40</c:v>
                </c:pt>
                <c:pt idx="144">
                  <c:v>40</c:v>
                </c:pt>
                <c:pt idx="145">
                  <c:v>40</c:v>
                </c:pt>
                <c:pt idx="146">
                  <c:v>40</c:v>
                </c:pt>
                <c:pt idx="147">
                  <c:v>40</c:v>
                </c:pt>
                <c:pt idx="148">
                  <c:v>40</c:v>
                </c:pt>
                <c:pt idx="149">
                  <c:v>40</c:v>
                </c:pt>
                <c:pt idx="150">
                  <c:v>40</c:v>
                </c:pt>
                <c:pt idx="151">
                  <c:v>40</c:v>
                </c:pt>
                <c:pt idx="152">
                  <c:v>40</c:v>
                </c:pt>
                <c:pt idx="153">
                  <c:v>40</c:v>
                </c:pt>
                <c:pt idx="154">
                  <c:v>40</c:v>
                </c:pt>
                <c:pt idx="155">
                  <c:v>40</c:v>
                </c:pt>
                <c:pt idx="156">
                  <c:v>40</c:v>
                </c:pt>
                <c:pt idx="157">
                  <c:v>40</c:v>
                </c:pt>
                <c:pt idx="158">
                  <c:v>40</c:v>
                </c:pt>
                <c:pt idx="159">
                  <c:v>40</c:v>
                </c:pt>
                <c:pt idx="160">
                  <c:v>40</c:v>
                </c:pt>
                <c:pt idx="161">
                  <c:v>40</c:v>
                </c:pt>
                <c:pt idx="162">
                  <c:v>40</c:v>
                </c:pt>
                <c:pt idx="163">
                  <c:v>40</c:v>
                </c:pt>
                <c:pt idx="164">
                  <c:v>40</c:v>
                </c:pt>
                <c:pt idx="165">
                  <c:v>40</c:v>
                </c:pt>
                <c:pt idx="166">
                  <c:v>40</c:v>
                </c:pt>
                <c:pt idx="167">
                  <c:v>40</c:v>
                </c:pt>
                <c:pt idx="168">
                  <c:v>40</c:v>
                </c:pt>
                <c:pt idx="169">
                  <c:v>40</c:v>
                </c:pt>
                <c:pt idx="170">
                  <c:v>40</c:v>
                </c:pt>
                <c:pt idx="171">
                  <c:v>40</c:v>
                </c:pt>
                <c:pt idx="172">
                  <c:v>40</c:v>
                </c:pt>
                <c:pt idx="173">
                  <c:v>40</c:v>
                </c:pt>
                <c:pt idx="174">
                  <c:v>40</c:v>
                </c:pt>
                <c:pt idx="175">
                  <c:v>40</c:v>
                </c:pt>
                <c:pt idx="176">
                  <c:v>40</c:v>
                </c:pt>
                <c:pt idx="177">
                  <c:v>40</c:v>
                </c:pt>
                <c:pt idx="178">
                  <c:v>40</c:v>
                </c:pt>
                <c:pt idx="179">
                  <c:v>40</c:v>
                </c:pt>
                <c:pt idx="180">
                  <c:v>40</c:v>
                </c:pt>
                <c:pt idx="181">
                  <c:v>40</c:v>
                </c:pt>
                <c:pt idx="182">
                  <c:v>40</c:v>
                </c:pt>
                <c:pt idx="183">
                  <c:v>40</c:v>
                </c:pt>
                <c:pt idx="184">
                  <c:v>40</c:v>
                </c:pt>
                <c:pt idx="185">
                  <c:v>40</c:v>
                </c:pt>
                <c:pt idx="186">
                  <c:v>40</c:v>
                </c:pt>
                <c:pt idx="187">
                  <c:v>40</c:v>
                </c:pt>
                <c:pt idx="188">
                  <c:v>40</c:v>
                </c:pt>
                <c:pt idx="189">
                  <c:v>40</c:v>
                </c:pt>
                <c:pt idx="190">
                  <c:v>40</c:v>
                </c:pt>
                <c:pt idx="191">
                  <c:v>40</c:v>
                </c:pt>
                <c:pt idx="192">
                  <c:v>40</c:v>
                </c:pt>
                <c:pt idx="193">
                  <c:v>40</c:v>
                </c:pt>
                <c:pt idx="194">
                  <c:v>40</c:v>
                </c:pt>
                <c:pt idx="195">
                  <c:v>40</c:v>
                </c:pt>
                <c:pt idx="196">
                  <c:v>40</c:v>
                </c:pt>
                <c:pt idx="197">
                  <c:v>40</c:v>
                </c:pt>
                <c:pt idx="198">
                  <c:v>40</c:v>
                </c:pt>
                <c:pt idx="199">
                  <c:v>40</c:v>
                </c:pt>
                <c:pt idx="200">
                  <c:v>40</c:v>
                </c:pt>
                <c:pt idx="201">
                  <c:v>40</c:v>
                </c:pt>
                <c:pt idx="202">
                  <c:v>40</c:v>
                </c:pt>
                <c:pt idx="203">
                  <c:v>40</c:v>
                </c:pt>
                <c:pt idx="204">
                  <c:v>40</c:v>
                </c:pt>
                <c:pt idx="205">
                  <c:v>40</c:v>
                </c:pt>
                <c:pt idx="206">
                  <c:v>40</c:v>
                </c:pt>
                <c:pt idx="207">
                  <c:v>40</c:v>
                </c:pt>
                <c:pt idx="208">
                  <c:v>40</c:v>
                </c:pt>
                <c:pt idx="209">
                  <c:v>40</c:v>
                </c:pt>
                <c:pt idx="210">
                  <c:v>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06F-432A-BAD8-3B84C3C582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7789824"/>
        <c:axId val="189481536"/>
      </c:lineChart>
      <c:dateAx>
        <c:axId val="187789824"/>
        <c:scaling>
          <c:orientation val="minMax"/>
          <c:max val="44497"/>
          <c:min val="44197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[$-409]d\-mmm\-yy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8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NG"/>
          </a:p>
        </c:txPr>
        <c:crossAx val="189481536"/>
        <c:crossesAt val="0"/>
        <c:auto val="1"/>
        <c:lblOffset val="100"/>
        <c:baseTimeUnit val="days"/>
        <c:majorUnit val="1"/>
        <c:majorTimeUnit val="days"/>
      </c:dateAx>
      <c:valAx>
        <c:axId val="189481536"/>
        <c:scaling>
          <c:orientation val="minMax"/>
          <c:max val="85"/>
          <c:min val="30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NG"/>
          </a:p>
        </c:txPr>
        <c:crossAx val="187789824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>
      <a:noFill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NG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0986152837411443E-2"/>
          <c:y val="4.0908498097712909E-2"/>
          <c:w val="0.92003809696641525"/>
          <c:h val="0.83216994703459102"/>
        </c:manualLayout>
      </c:layout>
      <c:lineChart>
        <c:grouping val="standard"/>
        <c:varyColors val="0"/>
        <c:ser>
          <c:idx val="1"/>
          <c:order val="0"/>
          <c:tx>
            <c:strRef>
              <c:f>'Sheet1 (2)'!$C$1</c:f>
              <c:strCache>
                <c:ptCount val="1"/>
                <c:pt idx="0">
                  <c:v>PMS</c:v>
                </c:pt>
              </c:strCache>
            </c:strRef>
          </c:tx>
          <c:spPr>
            <a:ln w="57150" cap="rnd">
              <a:solidFill>
                <a:srgbClr val="3D764D"/>
              </a:solidFill>
              <a:round/>
            </a:ln>
            <a:effectLst/>
          </c:spPr>
          <c:marker>
            <c:symbol val="none"/>
          </c:marker>
          <c:dLbls>
            <c:dLbl>
              <c:idx val="248"/>
              <c:numFmt formatCode="#,##0" sourceLinked="0"/>
              <c:spPr>
                <a:solidFill>
                  <a:srgbClr val="3D764D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NG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C4E-4838-97AE-CA3302C31C5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1 (2)'!$A$2:$A$250</c:f>
              <c:numCache>
                <c:formatCode>dd/mm/yyyy;@</c:formatCode>
                <c:ptCount val="249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4</c:v>
                </c:pt>
                <c:pt idx="6">
                  <c:v>44145</c:v>
                </c:pt>
                <c:pt idx="7">
                  <c:v>44146</c:v>
                </c:pt>
                <c:pt idx="8">
                  <c:v>44147</c:v>
                </c:pt>
                <c:pt idx="9">
                  <c:v>44148</c:v>
                </c:pt>
                <c:pt idx="10">
                  <c:v>44151</c:v>
                </c:pt>
                <c:pt idx="11">
                  <c:v>44152</c:v>
                </c:pt>
                <c:pt idx="12">
                  <c:v>44153</c:v>
                </c:pt>
                <c:pt idx="13">
                  <c:v>44154</c:v>
                </c:pt>
                <c:pt idx="14">
                  <c:v>44155</c:v>
                </c:pt>
                <c:pt idx="15">
                  <c:v>44158</c:v>
                </c:pt>
                <c:pt idx="16">
                  <c:v>44159</c:v>
                </c:pt>
                <c:pt idx="17">
                  <c:v>44160</c:v>
                </c:pt>
                <c:pt idx="18">
                  <c:v>44161</c:v>
                </c:pt>
                <c:pt idx="19">
                  <c:v>44162</c:v>
                </c:pt>
                <c:pt idx="20">
                  <c:v>44165</c:v>
                </c:pt>
                <c:pt idx="21">
                  <c:v>44166</c:v>
                </c:pt>
                <c:pt idx="22">
                  <c:v>44167</c:v>
                </c:pt>
                <c:pt idx="23">
                  <c:v>44168</c:v>
                </c:pt>
                <c:pt idx="24">
                  <c:v>44169</c:v>
                </c:pt>
                <c:pt idx="25">
                  <c:v>44172</c:v>
                </c:pt>
                <c:pt idx="26">
                  <c:v>44173</c:v>
                </c:pt>
                <c:pt idx="27">
                  <c:v>44174</c:v>
                </c:pt>
                <c:pt idx="28">
                  <c:v>44175</c:v>
                </c:pt>
                <c:pt idx="29">
                  <c:v>44176</c:v>
                </c:pt>
                <c:pt idx="30">
                  <c:v>44179</c:v>
                </c:pt>
                <c:pt idx="31">
                  <c:v>44180</c:v>
                </c:pt>
                <c:pt idx="32">
                  <c:v>44181</c:v>
                </c:pt>
                <c:pt idx="33">
                  <c:v>44182</c:v>
                </c:pt>
                <c:pt idx="34">
                  <c:v>44183</c:v>
                </c:pt>
                <c:pt idx="35">
                  <c:v>44186</c:v>
                </c:pt>
                <c:pt idx="36">
                  <c:v>44187</c:v>
                </c:pt>
                <c:pt idx="37">
                  <c:v>44188</c:v>
                </c:pt>
                <c:pt idx="38">
                  <c:v>44189</c:v>
                </c:pt>
                <c:pt idx="39">
                  <c:v>44194</c:v>
                </c:pt>
                <c:pt idx="40">
                  <c:v>44195</c:v>
                </c:pt>
                <c:pt idx="41">
                  <c:v>44196</c:v>
                </c:pt>
                <c:pt idx="42">
                  <c:v>44200</c:v>
                </c:pt>
                <c:pt idx="43">
                  <c:v>44201</c:v>
                </c:pt>
                <c:pt idx="44">
                  <c:v>44202</c:v>
                </c:pt>
                <c:pt idx="45">
                  <c:v>44203</c:v>
                </c:pt>
                <c:pt idx="46">
                  <c:v>44204</c:v>
                </c:pt>
                <c:pt idx="47">
                  <c:v>44207</c:v>
                </c:pt>
                <c:pt idx="48">
                  <c:v>44208</c:v>
                </c:pt>
                <c:pt idx="49">
                  <c:v>44209</c:v>
                </c:pt>
                <c:pt idx="50">
                  <c:v>44210</c:v>
                </c:pt>
                <c:pt idx="51">
                  <c:v>44211</c:v>
                </c:pt>
                <c:pt idx="52">
                  <c:v>44214</c:v>
                </c:pt>
                <c:pt idx="53">
                  <c:v>44215</c:v>
                </c:pt>
                <c:pt idx="54">
                  <c:v>44216</c:v>
                </c:pt>
                <c:pt idx="55">
                  <c:v>44217</c:v>
                </c:pt>
                <c:pt idx="56">
                  <c:v>44218</c:v>
                </c:pt>
                <c:pt idx="57">
                  <c:v>44221</c:v>
                </c:pt>
                <c:pt idx="58">
                  <c:v>44222</c:v>
                </c:pt>
                <c:pt idx="59">
                  <c:v>44223</c:v>
                </c:pt>
                <c:pt idx="60">
                  <c:v>44224</c:v>
                </c:pt>
                <c:pt idx="61">
                  <c:v>44225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5</c:v>
                </c:pt>
                <c:pt idx="68">
                  <c:v>44236</c:v>
                </c:pt>
                <c:pt idx="69">
                  <c:v>44237</c:v>
                </c:pt>
                <c:pt idx="70">
                  <c:v>44238</c:v>
                </c:pt>
                <c:pt idx="71">
                  <c:v>44239</c:v>
                </c:pt>
                <c:pt idx="72">
                  <c:v>44242</c:v>
                </c:pt>
                <c:pt idx="73">
                  <c:v>44243</c:v>
                </c:pt>
                <c:pt idx="74">
                  <c:v>44244</c:v>
                </c:pt>
                <c:pt idx="75">
                  <c:v>44245</c:v>
                </c:pt>
                <c:pt idx="76">
                  <c:v>44246</c:v>
                </c:pt>
                <c:pt idx="77">
                  <c:v>44249</c:v>
                </c:pt>
                <c:pt idx="78">
                  <c:v>44250</c:v>
                </c:pt>
                <c:pt idx="79">
                  <c:v>44251</c:v>
                </c:pt>
                <c:pt idx="80">
                  <c:v>44252</c:v>
                </c:pt>
                <c:pt idx="81">
                  <c:v>44253</c:v>
                </c:pt>
                <c:pt idx="82">
                  <c:v>44256</c:v>
                </c:pt>
                <c:pt idx="83">
                  <c:v>44257</c:v>
                </c:pt>
                <c:pt idx="84">
                  <c:v>44258</c:v>
                </c:pt>
                <c:pt idx="85">
                  <c:v>44259</c:v>
                </c:pt>
                <c:pt idx="86">
                  <c:v>44260</c:v>
                </c:pt>
                <c:pt idx="87">
                  <c:v>44263</c:v>
                </c:pt>
                <c:pt idx="88">
                  <c:v>44264</c:v>
                </c:pt>
                <c:pt idx="89">
                  <c:v>44265</c:v>
                </c:pt>
                <c:pt idx="90">
                  <c:v>44266</c:v>
                </c:pt>
                <c:pt idx="91">
                  <c:v>44267</c:v>
                </c:pt>
                <c:pt idx="92">
                  <c:v>44270</c:v>
                </c:pt>
                <c:pt idx="93">
                  <c:v>44271</c:v>
                </c:pt>
                <c:pt idx="94">
                  <c:v>44272</c:v>
                </c:pt>
                <c:pt idx="95">
                  <c:v>44273</c:v>
                </c:pt>
                <c:pt idx="96">
                  <c:v>44274</c:v>
                </c:pt>
                <c:pt idx="97">
                  <c:v>44277</c:v>
                </c:pt>
                <c:pt idx="98">
                  <c:v>44278</c:v>
                </c:pt>
                <c:pt idx="99">
                  <c:v>44279</c:v>
                </c:pt>
                <c:pt idx="100">
                  <c:v>44280</c:v>
                </c:pt>
                <c:pt idx="101">
                  <c:v>44281</c:v>
                </c:pt>
                <c:pt idx="102">
                  <c:v>44284</c:v>
                </c:pt>
                <c:pt idx="103">
                  <c:v>44285</c:v>
                </c:pt>
                <c:pt idx="104">
                  <c:v>44286</c:v>
                </c:pt>
                <c:pt idx="105">
                  <c:v>44287</c:v>
                </c:pt>
                <c:pt idx="106">
                  <c:v>44292</c:v>
                </c:pt>
                <c:pt idx="107">
                  <c:v>44293</c:v>
                </c:pt>
                <c:pt idx="108">
                  <c:v>44294</c:v>
                </c:pt>
                <c:pt idx="109">
                  <c:v>44295</c:v>
                </c:pt>
                <c:pt idx="110">
                  <c:v>44298</c:v>
                </c:pt>
                <c:pt idx="111">
                  <c:v>44299</c:v>
                </c:pt>
                <c:pt idx="112">
                  <c:v>44300</c:v>
                </c:pt>
                <c:pt idx="113">
                  <c:v>44301</c:v>
                </c:pt>
                <c:pt idx="114">
                  <c:v>44302</c:v>
                </c:pt>
                <c:pt idx="115">
                  <c:v>44305</c:v>
                </c:pt>
                <c:pt idx="116">
                  <c:v>44306</c:v>
                </c:pt>
                <c:pt idx="117">
                  <c:v>44307</c:v>
                </c:pt>
                <c:pt idx="118">
                  <c:v>44308</c:v>
                </c:pt>
                <c:pt idx="119">
                  <c:v>44309</c:v>
                </c:pt>
                <c:pt idx="120">
                  <c:v>44312</c:v>
                </c:pt>
                <c:pt idx="121">
                  <c:v>44313</c:v>
                </c:pt>
                <c:pt idx="122">
                  <c:v>44314</c:v>
                </c:pt>
                <c:pt idx="123">
                  <c:v>44315</c:v>
                </c:pt>
                <c:pt idx="124">
                  <c:v>44316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3</c:v>
                </c:pt>
                <c:pt idx="135">
                  <c:v>44334</c:v>
                </c:pt>
                <c:pt idx="136">
                  <c:v>44335</c:v>
                </c:pt>
                <c:pt idx="137">
                  <c:v>44336</c:v>
                </c:pt>
                <c:pt idx="138">
                  <c:v>44337</c:v>
                </c:pt>
                <c:pt idx="139">
                  <c:v>44340</c:v>
                </c:pt>
                <c:pt idx="140">
                  <c:v>44341</c:v>
                </c:pt>
                <c:pt idx="141">
                  <c:v>44342</c:v>
                </c:pt>
                <c:pt idx="142">
                  <c:v>44343</c:v>
                </c:pt>
                <c:pt idx="143">
                  <c:v>44344</c:v>
                </c:pt>
                <c:pt idx="144">
                  <c:v>44348</c:v>
                </c:pt>
                <c:pt idx="145">
                  <c:v>44349</c:v>
                </c:pt>
                <c:pt idx="146">
                  <c:v>44350</c:v>
                </c:pt>
                <c:pt idx="147">
                  <c:v>44351</c:v>
                </c:pt>
                <c:pt idx="148">
                  <c:v>44354</c:v>
                </c:pt>
                <c:pt idx="149">
                  <c:v>44355</c:v>
                </c:pt>
                <c:pt idx="150">
                  <c:v>44356</c:v>
                </c:pt>
                <c:pt idx="151">
                  <c:v>44357</c:v>
                </c:pt>
                <c:pt idx="152">
                  <c:v>44358</c:v>
                </c:pt>
                <c:pt idx="153">
                  <c:v>44361</c:v>
                </c:pt>
                <c:pt idx="154">
                  <c:v>44362</c:v>
                </c:pt>
                <c:pt idx="155">
                  <c:v>44363</c:v>
                </c:pt>
                <c:pt idx="156">
                  <c:v>44364</c:v>
                </c:pt>
                <c:pt idx="157">
                  <c:v>44365</c:v>
                </c:pt>
                <c:pt idx="158">
                  <c:v>44368</c:v>
                </c:pt>
                <c:pt idx="159">
                  <c:v>44369</c:v>
                </c:pt>
                <c:pt idx="160">
                  <c:v>44370</c:v>
                </c:pt>
                <c:pt idx="161">
                  <c:v>44371</c:v>
                </c:pt>
                <c:pt idx="162">
                  <c:v>44372</c:v>
                </c:pt>
                <c:pt idx="163">
                  <c:v>44375</c:v>
                </c:pt>
                <c:pt idx="164">
                  <c:v>44376</c:v>
                </c:pt>
                <c:pt idx="165">
                  <c:v>44377</c:v>
                </c:pt>
                <c:pt idx="166">
                  <c:v>44378</c:v>
                </c:pt>
                <c:pt idx="167">
                  <c:v>44379</c:v>
                </c:pt>
                <c:pt idx="168">
                  <c:v>44382</c:v>
                </c:pt>
                <c:pt idx="169">
                  <c:v>44383</c:v>
                </c:pt>
                <c:pt idx="170">
                  <c:v>44384</c:v>
                </c:pt>
                <c:pt idx="171">
                  <c:v>44385</c:v>
                </c:pt>
                <c:pt idx="172">
                  <c:v>44386</c:v>
                </c:pt>
                <c:pt idx="173">
                  <c:v>44389</c:v>
                </c:pt>
                <c:pt idx="174">
                  <c:v>44390</c:v>
                </c:pt>
                <c:pt idx="175">
                  <c:v>44391</c:v>
                </c:pt>
                <c:pt idx="176">
                  <c:v>44392</c:v>
                </c:pt>
                <c:pt idx="177">
                  <c:v>44393</c:v>
                </c:pt>
                <c:pt idx="178">
                  <c:v>44396</c:v>
                </c:pt>
                <c:pt idx="179">
                  <c:v>44397</c:v>
                </c:pt>
                <c:pt idx="180">
                  <c:v>44398</c:v>
                </c:pt>
                <c:pt idx="181">
                  <c:v>44399</c:v>
                </c:pt>
                <c:pt idx="182">
                  <c:v>44400</c:v>
                </c:pt>
                <c:pt idx="183">
                  <c:v>44403</c:v>
                </c:pt>
                <c:pt idx="184">
                  <c:v>44404</c:v>
                </c:pt>
                <c:pt idx="185">
                  <c:v>44405</c:v>
                </c:pt>
                <c:pt idx="186">
                  <c:v>44406</c:v>
                </c:pt>
                <c:pt idx="187">
                  <c:v>44407</c:v>
                </c:pt>
                <c:pt idx="188">
                  <c:v>44410</c:v>
                </c:pt>
                <c:pt idx="189">
                  <c:v>44411</c:v>
                </c:pt>
                <c:pt idx="190">
                  <c:v>44412</c:v>
                </c:pt>
                <c:pt idx="191">
                  <c:v>44413</c:v>
                </c:pt>
                <c:pt idx="192" formatCode="m/d/yyyy">
                  <c:v>44414</c:v>
                </c:pt>
                <c:pt idx="193" formatCode="m/d/yyyy">
                  <c:v>44417</c:v>
                </c:pt>
                <c:pt idx="194" formatCode="m/d/yyyy">
                  <c:v>44418</c:v>
                </c:pt>
                <c:pt idx="195" formatCode="m/d/yyyy">
                  <c:v>44419</c:v>
                </c:pt>
                <c:pt idx="196" formatCode="m/d/yyyy">
                  <c:v>44420</c:v>
                </c:pt>
                <c:pt idx="197" formatCode="m/d/yyyy">
                  <c:v>44421</c:v>
                </c:pt>
                <c:pt idx="198" formatCode="m/d/yyyy">
                  <c:v>44424</c:v>
                </c:pt>
                <c:pt idx="199" formatCode="m/d/yyyy">
                  <c:v>44425</c:v>
                </c:pt>
                <c:pt idx="200" formatCode="m/d/yyyy">
                  <c:v>44426</c:v>
                </c:pt>
                <c:pt idx="201" formatCode="m/d/yyyy">
                  <c:v>44427</c:v>
                </c:pt>
                <c:pt idx="202" formatCode="m/d/yyyy">
                  <c:v>44428</c:v>
                </c:pt>
                <c:pt idx="203" formatCode="m/d/yyyy">
                  <c:v>44431</c:v>
                </c:pt>
                <c:pt idx="204" formatCode="m/d/yyyy">
                  <c:v>44432</c:v>
                </c:pt>
                <c:pt idx="205" formatCode="m/d/yyyy">
                  <c:v>44433</c:v>
                </c:pt>
                <c:pt idx="206" formatCode="m/d/yyyy">
                  <c:v>44434</c:v>
                </c:pt>
                <c:pt idx="207" formatCode="m/d/yyyy">
                  <c:v>44435</c:v>
                </c:pt>
                <c:pt idx="208">
                  <c:v>44439</c:v>
                </c:pt>
                <c:pt idx="209">
                  <c:v>44440</c:v>
                </c:pt>
                <c:pt idx="210">
                  <c:v>44441</c:v>
                </c:pt>
                <c:pt idx="211">
                  <c:v>44442</c:v>
                </c:pt>
                <c:pt idx="212" formatCode="m/d/yyyy">
                  <c:v>44445</c:v>
                </c:pt>
                <c:pt idx="213" formatCode="m/d/yyyy">
                  <c:v>44446</c:v>
                </c:pt>
                <c:pt idx="214" formatCode="m/d/yyyy">
                  <c:v>44447</c:v>
                </c:pt>
                <c:pt idx="215" formatCode="m/d/yyyy">
                  <c:v>44448</c:v>
                </c:pt>
                <c:pt idx="216" formatCode="m/d/yyyy">
                  <c:v>44449</c:v>
                </c:pt>
                <c:pt idx="217" formatCode="m/d/yyyy">
                  <c:v>44452</c:v>
                </c:pt>
                <c:pt idx="218" formatCode="m/d/yyyy">
                  <c:v>44453</c:v>
                </c:pt>
                <c:pt idx="219" formatCode="m/d/yyyy">
                  <c:v>44454</c:v>
                </c:pt>
                <c:pt idx="220" formatCode="m/d/yyyy">
                  <c:v>44455</c:v>
                </c:pt>
                <c:pt idx="221" formatCode="m/d/yyyy">
                  <c:v>44456</c:v>
                </c:pt>
                <c:pt idx="222" formatCode="m/d/yyyy">
                  <c:v>44459</c:v>
                </c:pt>
                <c:pt idx="223" formatCode="m/d/yyyy">
                  <c:v>44460</c:v>
                </c:pt>
                <c:pt idx="224" formatCode="m/d/yyyy">
                  <c:v>44461</c:v>
                </c:pt>
                <c:pt idx="225" formatCode="m/d/yyyy">
                  <c:v>44462</c:v>
                </c:pt>
                <c:pt idx="226" formatCode="m/d/yyyy">
                  <c:v>44463</c:v>
                </c:pt>
                <c:pt idx="227" formatCode="m/d/yyyy">
                  <c:v>44466</c:v>
                </c:pt>
                <c:pt idx="228" formatCode="m/d/yyyy">
                  <c:v>44467</c:v>
                </c:pt>
                <c:pt idx="229" formatCode="m/d/yyyy">
                  <c:v>44468</c:v>
                </c:pt>
                <c:pt idx="230" formatCode="m/d/yyyy">
                  <c:v>44469</c:v>
                </c:pt>
                <c:pt idx="231" formatCode="m/d/yyyy">
                  <c:v>44470</c:v>
                </c:pt>
                <c:pt idx="232" formatCode="m/d/yyyy">
                  <c:v>44473</c:v>
                </c:pt>
                <c:pt idx="233" formatCode="m/d/yyyy">
                  <c:v>44474</c:v>
                </c:pt>
                <c:pt idx="234" formatCode="m/d/yyyy">
                  <c:v>44475</c:v>
                </c:pt>
                <c:pt idx="235" formatCode="m/d/yyyy">
                  <c:v>44476</c:v>
                </c:pt>
                <c:pt idx="236" formatCode="m/d/yyyy">
                  <c:v>44477</c:v>
                </c:pt>
                <c:pt idx="237" formatCode="m/d/yyyy">
                  <c:v>44480</c:v>
                </c:pt>
                <c:pt idx="238" formatCode="m/d/yyyy">
                  <c:v>44481</c:v>
                </c:pt>
                <c:pt idx="239" formatCode="m/d/yyyy">
                  <c:v>44482</c:v>
                </c:pt>
                <c:pt idx="240" formatCode="m/d/yyyy">
                  <c:v>44483</c:v>
                </c:pt>
                <c:pt idx="241" formatCode="m/d/yyyy">
                  <c:v>44484</c:v>
                </c:pt>
                <c:pt idx="242" formatCode="m/d/yyyy">
                  <c:v>44487</c:v>
                </c:pt>
                <c:pt idx="243" formatCode="m/d/yyyy">
                  <c:v>44488</c:v>
                </c:pt>
                <c:pt idx="244" formatCode="m/d/yyyy">
                  <c:v>44489</c:v>
                </c:pt>
                <c:pt idx="245" formatCode="m/d/yyyy">
                  <c:v>44490</c:v>
                </c:pt>
                <c:pt idx="246" formatCode="m/d/yyyy">
                  <c:v>44491</c:v>
                </c:pt>
                <c:pt idx="247" formatCode="m/d/yyyy">
                  <c:v>44494</c:v>
                </c:pt>
                <c:pt idx="248" formatCode="m/d/yyyy">
                  <c:v>44495</c:v>
                </c:pt>
              </c:numCache>
            </c:numRef>
          </c:cat>
          <c:val>
            <c:numRef>
              <c:f>'Sheet1 (2)'!$C$2:$C$250</c:f>
              <c:numCache>
                <c:formatCode>_-* #,##0.000_-;\-* #,##0.000_-;_-* "-"???_-;_-@_-</c:formatCode>
                <c:ptCount val="249"/>
                <c:pt idx="0">
                  <c:v>151.09024608501119</c:v>
                </c:pt>
                <c:pt idx="1">
                  <c:v>152.69390007457122</c:v>
                </c:pt>
                <c:pt idx="2">
                  <c:v>155.60963460104398</c:v>
                </c:pt>
                <c:pt idx="3">
                  <c:v>155.31806114839674</c:v>
                </c:pt>
                <c:pt idx="4">
                  <c:v>153.49572706935123</c:v>
                </c:pt>
                <c:pt idx="5">
                  <c:v>161.14953020134229</c:v>
                </c:pt>
                <c:pt idx="6">
                  <c:v>163.11765100671141</c:v>
                </c:pt>
                <c:pt idx="7">
                  <c:v>165.52313199105146</c:v>
                </c:pt>
                <c:pt idx="8">
                  <c:v>162.53450410141687</c:v>
                </c:pt>
                <c:pt idx="9">
                  <c:v>159.10851603281134</c:v>
                </c:pt>
                <c:pt idx="10">
                  <c:v>161.36821029082773</c:v>
                </c:pt>
                <c:pt idx="11">
                  <c:v>159.25430275913499</c:v>
                </c:pt>
                <c:pt idx="12">
                  <c:v>161.65978374347503</c:v>
                </c:pt>
                <c:pt idx="13">
                  <c:v>159.91034302759135</c:v>
                </c:pt>
                <c:pt idx="14">
                  <c:v>162.24293064876957</c:v>
                </c:pt>
                <c:pt idx="15">
                  <c:v>164.50262490678597</c:v>
                </c:pt>
                <c:pt idx="16">
                  <c:v>171.06302759134974</c:v>
                </c:pt>
                <c:pt idx="17">
                  <c:v>170.84434750186429</c:v>
                </c:pt>
                <c:pt idx="18">
                  <c:v>170.69856077554064</c:v>
                </c:pt>
                <c:pt idx="19">
                  <c:v>171.7190678598061</c:v>
                </c:pt>
                <c:pt idx="20">
                  <c:v>168.94912005965696</c:v>
                </c:pt>
                <c:pt idx="21">
                  <c:v>167.9286129753915</c:v>
                </c:pt>
                <c:pt idx="22">
                  <c:v>170.77145413870247</c:v>
                </c:pt>
                <c:pt idx="23">
                  <c:v>171.79196122296793</c:v>
                </c:pt>
                <c:pt idx="24">
                  <c:v>173.39561521252796</c:v>
                </c:pt>
                <c:pt idx="25">
                  <c:v>173.46850857568978</c:v>
                </c:pt>
                <c:pt idx="26">
                  <c:v>173.39561521252796</c:v>
                </c:pt>
                <c:pt idx="27">
                  <c:v>173.03114839671886</c:v>
                </c:pt>
                <c:pt idx="28">
                  <c:v>178.57104399701714</c:v>
                </c:pt>
                <c:pt idx="29">
                  <c:v>176.53002982848619</c:v>
                </c:pt>
                <c:pt idx="30">
                  <c:v>174.56190902311707</c:v>
                </c:pt>
                <c:pt idx="31">
                  <c:v>176.60292319164802</c:v>
                </c:pt>
                <c:pt idx="32">
                  <c:v>178.20657718120805</c:v>
                </c:pt>
                <c:pt idx="33">
                  <c:v>179.81023117076808</c:v>
                </c:pt>
                <c:pt idx="34">
                  <c:v>182.58017897091722</c:v>
                </c:pt>
                <c:pt idx="35">
                  <c:v>178.13368381804622</c:v>
                </c:pt>
                <c:pt idx="36">
                  <c:v>178.20657718120805</c:v>
                </c:pt>
                <c:pt idx="37">
                  <c:v>181.92413870246085</c:v>
                </c:pt>
                <c:pt idx="38">
                  <c:v>180.247591349739</c:v>
                </c:pt>
                <c:pt idx="39">
                  <c:v>181.26809843400449</c:v>
                </c:pt>
                <c:pt idx="40">
                  <c:v>183.60068605518271</c:v>
                </c:pt>
                <c:pt idx="41">
                  <c:v>182.94464578672631</c:v>
                </c:pt>
                <c:pt idx="42">
                  <c:v>183.38200596569723</c:v>
                </c:pt>
                <c:pt idx="43">
                  <c:v>187.68271439224461</c:v>
                </c:pt>
                <c:pt idx="44">
                  <c:v>190.67134228187919</c:v>
                </c:pt>
                <c:pt idx="45">
                  <c:v>191.61895600298286</c:v>
                </c:pt>
                <c:pt idx="46">
                  <c:v>194.97205070842654</c:v>
                </c:pt>
                <c:pt idx="47">
                  <c:v>195.04494407158836</c:v>
                </c:pt>
                <c:pt idx="48">
                  <c:v>198.76250559284117</c:v>
                </c:pt>
                <c:pt idx="49">
                  <c:v>197.52331841909023</c:v>
                </c:pt>
                <c:pt idx="50">
                  <c:v>197.37753169276658</c:v>
                </c:pt>
                <c:pt idx="51">
                  <c:v>196.57570469798657</c:v>
                </c:pt>
                <c:pt idx="52">
                  <c:v>196.21123788217747</c:v>
                </c:pt>
                <c:pt idx="53">
                  <c:v>198.4709321401939</c:v>
                </c:pt>
                <c:pt idx="54">
                  <c:v>198.76250559284117</c:v>
                </c:pt>
                <c:pt idx="55">
                  <c:v>196.42991797166295</c:v>
                </c:pt>
                <c:pt idx="56">
                  <c:v>196.06545115585385</c:v>
                </c:pt>
                <c:pt idx="57">
                  <c:v>195.9196644295302</c:v>
                </c:pt>
                <c:pt idx="58">
                  <c:v>197.15885160328114</c:v>
                </c:pt>
                <c:pt idx="59">
                  <c:v>198.1064653243848</c:v>
                </c:pt>
                <c:pt idx="60">
                  <c:v>197.37753169276658</c:v>
                </c:pt>
                <c:pt idx="61">
                  <c:v>198.54382550335569</c:v>
                </c:pt>
                <c:pt idx="62">
                  <c:v>199.41854586129753</c:v>
                </c:pt>
                <c:pt idx="63">
                  <c:v>204.52108128262492</c:v>
                </c:pt>
                <c:pt idx="64">
                  <c:v>207.21813571961223</c:v>
                </c:pt>
                <c:pt idx="65">
                  <c:v>206.63498881431767</c:v>
                </c:pt>
                <c:pt idx="66">
                  <c:v>209.98808351976137</c:v>
                </c:pt>
                <c:pt idx="67">
                  <c:v>209.84229679343773</c:v>
                </c:pt>
                <c:pt idx="68">
                  <c:v>209.62361670395228</c:v>
                </c:pt>
                <c:pt idx="69">
                  <c:v>210.42544369873229</c:v>
                </c:pt>
                <c:pt idx="70">
                  <c:v>210.20676360924682</c:v>
                </c:pt>
                <c:pt idx="71">
                  <c:v>210.49833706189412</c:v>
                </c:pt>
                <c:pt idx="72">
                  <c:v>216.25691275167785</c:v>
                </c:pt>
                <c:pt idx="73">
                  <c:v>215.09061894108874</c:v>
                </c:pt>
                <c:pt idx="74">
                  <c:v>217.78767337807605</c:v>
                </c:pt>
                <c:pt idx="75">
                  <c:v>221.28655480984341</c:v>
                </c:pt>
                <c:pt idx="76">
                  <c:v>221.79680835197613</c:v>
                </c:pt>
                <c:pt idx="77">
                  <c:v>222.74442207307979</c:v>
                </c:pt>
                <c:pt idx="78">
                  <c:v>225.29568978374348</c:v>
                </c:pt>
                <c:pt idx="79">
                  <c:v>229.96086502609992</c:v>
                </c:pt>
                <c:pt idx="80">
                  <c:v>230.39822520507084</c:v>
                </c:pt>
                <c:pt idx="81">
                  <c:v>229.8879716629381</c:v>
                </c:pt>
                <c:pt idx="82">
                  <c:v>229.96086502609992</c:v>
                </c:pt>
                <c:pt idx="83">
                  <c:v>227.9927442207308</c:v>
                </c:pt>
                <c:pt idx="84">
                  <c:v>227.91985085756897</c:v>
                </c:pt>
                <c:pt idx="85">
                  <c:v>232.58502609992541</c:v>
                </c:pt>
                <c:pt idx="86">
                  <c:v>235.28208053691276</c:v>
                </c:pt>
                <c:pt idx="87">
                  <c:v>234.40736017897092</c:v>
                </c:pt>
                <c:pt idx="88">
                  <c:v>233.45974645786725</c:v>
                </c:pt>
                <c:pt idx="89">
                  <c:v>233.45974645786725</c:v>
                </c:pt>
                <c:pt idx="90">
                  <c:v>240.53040268456377</c:v>
                </c:pt>
                <c:pt idx="91">
                  <c:v>242.06116331096197</c:v>
                </c:pt>
                <c:pt idx="92">
                  <c:v>238.70806860551826</c:v>
                </c:pt>
                <c:pt idx="93">
                  <c:v>236.95862788963461</c:v>
                </c:pt>
                <c:pt idx="94">
                  <c:v>231.27294556301268</c:v>
                </c:pt>
                <c:pt idx="95">
                  <c:v>224.05650260999255</c:v>
                </c:pt>
                <c:pt idx="96">
                  <c:v>220.99498135719611</c:v>
                </c:pt>
                <c:pt idx="97">
                  <c:v>225.36858314690528</c:v>
                </c:pt>
                <c:pt idx="98">
                  <c:v>220.77630126771066</c:v>
                </c:pt>
                <c:pt idx="99">
                  <c:v>227.77406413124532</c:v>
                </c:pt>
                <c:pt idx="100">
                  <c:v>225.95173005219985</c:v>
                </c:pt>
                <c:pt idx="101">
                  <c:v>233.24106636838181</c:v>
                </c:pt>
                <c:pt idx="102">
                  <c:v>232.87659955257271</c:v>
                </c:pt>
                <c:pt idx="103">
                  <c:v>234.69893363161819</c:v>
                </c:pt>
                <c:pt idx="104">
                  <c:v>236.37548098434004</c:v>
                </c:pt>
                <c:pt idx="105">
                  <c:v>232.43923937360179</c:v>
                </c:pt>
                <c:pt idx="106">
                  <c:v>225.58726323639075</c:v>
                </c:pt>
                <c:pt idx="107">
                  <c:v>219.53711409395973</c:v>
                </c:pt>
                <c:pt idx="108">
                  <c:v>222.81731543624161</c:v>
                </c:pt>
                <c:pt idx="109">
                  <c:v>222.52574198359434</c:v>
                </c:pt>
                <c:pt idx="110">
                  <c:v>223.03599552572706</c:v>
                </c:pt>
                <c:pt idx="111">
                  <c:v>224.12939597315437</c:v>
                </c:pt>
                <c:pt idx="112">
                  <c:v>228.43010439970172</c:v>
                </c:pt>
                <c:pt idx="113">
                  <c:v>229.96086502609992</c:v>
                </c:pt>
                <c:pt idx="114">
                  <c:v>230.98137211036538</c:v>
                </c:pt>
                <c:pt idx="115">
                  <c:v>231.7103057419836</c:v>
                </c:pt>
                <c:pt idx="116">
                  <c:v>227.33670395227443</c:v>
                </c:pt>
                <c:pt idx="117">
                  <c:v>227.04513049962713</c:v>
                </c:pt>
                <c:pt idx="118">
                  <c:v>226.1704101416853</c:v>
                </c:pt>
                <c:pt idx="119">
                  <c:v>227.04513049962713</c:v>
                </c:pt>
                <c:pt idx="120">
                  <c:v>226.46198359433259</c:v>
                </c:pt>
                <c:pt idx="121">
                  <c:v>227.33670395227443</c:v>
                </c:pt>
                <c:pt idx="122">
                  <c:v>232.58502609992541</c:v>
                </c:pt>
                <c:pt idx="123">
                  <c:v>234.40736017897092</c:v>
                </c:pt>
                <c:pt idx="124">
                  <c:v>232.00187919463087</c:v>
                </c:pt>
                <c:pt idx="125">
                  <c:v>237.90624161073825</c:v>
                </c:pt>
                <c:pt idx="126">
                  <c:v>250.46389821029084</c:v>
                </c:pt>
                <c:pt idx="127">
                  <c:v>247.6332326621924</c:v>
                </c:pt>
                <c:pt idx="128">
                  <c:v>246.40916107382549</c:v>
                </c:pt>
                <c:pt idx="129">
                  <c:v>246.40916107382549</c:v>
                </c:pt>
                <c:pt idx="130">
                  <c:v>245.873629753915</c:v>
                </c:pt>
                <c:pt idx="131">
                  <c:v>248.01575503355704</c:v>
                </c:pt>
                <c:pt idx="132">
                  <c:v>244.1140268456376</c:v>
                </c:pt>
                <c:pt idx="133">
                  <c:v>242.50743288590604</c:v>
                </c:pt>
                <c:pt idx="134">
                  <c:v>244.87907158836688</c:v>
                </c:pt>
                <c:pt idx="135">
                  <c:v>245.95013422818792</c:v>
                </c:pt>
                <c:pt idx="136">
                  <c:v>237.38163310961968</c:v>
                </c:pt>
                <c:pt idx="137">
                  <c:v>239.82977628635348</c:v>
                </c:pt>
                <c:pt idx="138">
                  <c:v>240.05928970917225</c:v>
                </c:pt>
                <c:pt idx="139">
                  <c:v>243.11946868008948</c:v>
                </c:pt>
                <c:pt idx="140">
                  <c:v>243.11946868008948</c:v>
                </c:pt>
                <c:pt idx="141">
                  <c:v>245.41460290827743</c:v>
                </c:pt>
                <c:pt idx="142">
                  <c:v>247.02119686800896</c:v>
                </c:pt>
                <c:pt idx="143">
                  <c:v>248.62779082774048</c:v>
                </c:pt>
                <c:pt idx="144">
                  <c:v>249.29820656226696</c:v>
                </c:pt>
                <c:pt idx="145">
                  <c:v>250.29484899328858</c:v>
                </c:pt>
                <c:pt idx="146">
                  <c:v>249.06821215510814</c:v>
                </c:pt>
                <c:pt idx="147">
                  <c:v>250.98483221476511</c:v>
                </c:pt>
                <c:pt idx="148">
                  <c:v>249.37487136465325</c:v>
                </c:pt>
                <c:pt idx="149">
                  <c:v>249.37487136465325</c:v>
                </c:pt>
                <c:pt idx="150">
                  <c:v>250.90816741237884</c:v>
                </c:pt>
                <c:pt idx="151">
                  <c:v>251.52148583146908</c:v>
                </c:pt>
                <c:pt idx="152">
                  <c:v>252.21146905294557</c:v>
                </c:pt>
                <c:pt idx="153">
                  <c:v>253.13144668158091</c:v>
                </c:pt>
                <c:pt idx="154">
                  <c:v>252.97811707680836</c:v>
                </c:pt>
                <c:pt idx="155">
                  <c:v>255.96804436987324</c:v>
                </c:pt>
                <c:pt idx="156">
                  <c:v>251.52148583146908</c:v>
                </c:pt>
                <c:pt idx="157">
                  <c:v>252.90145227442207</c:v>
                </c:pt>
                <c:pt idx="158">
                  <c:v>256.12137397464579</c:v>
                </c:pt>
                <c:pt idx="159">
                  <c:v>258.19132363907534</c:v>
                </c:pt>
                <c:pt idx="160">
                  <c:v>262.63788217747947</c:v>
                </c:pt>
                <c:pt idx="161">
                  <c:v>262.86787658463834</c:v>
                </c:pt>
                <c:pt idx="162">
                  <c:v>264.1711782252051</c:v>
                </c:pt>
                <c:pt idx="163">
                  <c:v>261.94789895600297</c:v>
                </c:pt>
                <c:pt idx="164">
                  <c:v>263.32786539895602</c:v>
                </c:pt>
                <c:pt idx="165">
                  <c:v>262.94454138702463</c:v>
                </c:pt>
                <c:pt idx="166">
                  <c:v>264.86116144668154</c:v>
                </c:pt>
                <c:pt idx="167">
                  <c:v>267.31443512304247</c:v>
                </c:pt>
                <c:pt idx="168">
                  <c:v>270.07436800894857</c:v>
                </c:pt>
                <c:pt idx="169">
                  <c:v>264.24784302759133</c:v>
                </c:pt>
                <c:pt idx="170">
                  <c:v>259.03463646532441</c:v>
                </c:pt>
                <c:pt idx="171">
                  <c:v>261.71790454884416</c:v>
                </c:pt>
                <c:pt idx="172">
                  <c:v>268.31107755406413</c:v>
                </c:pt>
                <c:pt idx="173">
                  <c:v>267.8510887397465</c:v>
                </c:pt>
                <c:pt idx="174">
                  <c:v>268.69440156599552</c:v>
                </c:pt>
                <c:pt idx="175">
                  <c:v>269.99770320656228</c:v>
                </c:pt>
                <c:pt idx="176">
                  <c:v>266.62445190156598</c:v>
                </c:pt>
                <c:pt idx="177">
                  <c:v>263.63452460850112</c:v>
                </c:pt>
                <c:pt idx="178">
                  <c:v>250.37151379567487</c:v>
                </c:pt>
                <c:pt idx="179">
                  <c:v>250.75483780760629</c:v>
                </c:pt>
                <c:pt idx="180">
                  <c:v>259.4179604772558</c:v>
                </c:pt>
                <c:pt idx="181">
                  <c:v>264.01784862043257</c:v>
                </c:pt>
                <c:pt idx="182">
                  <c:v>268.69440156599552</c:v>
                </c:pt>
                <c:pt idx="183">
                  <c:v>268.38774235645042</c:v>
                </c:pt>
                <c:pt idx="184">
                  <c:v>271.60766405667414</c:v>
                </c:pt>
                <c:pt idx="185">
                  <c:v>269.30771998508578</c:v>
                </c:pt>
                <c:pt idx="186">
                  <c:v>272.14431767337805</c:v>
                </c:pt>
                <c:pt idx="187">
                  <c:v>273.52428411633116</c:v>
                </c:pt>
                <c:pt idx="188">
                  <c:v>267.23777032065624</c:v>
                </c:pt>
                <c:pt idx="189">
                  <c:v>266.24112788963464</c:v>
                </c:pt>
                <c:pt idx="190">
                  <c:v>262.79121178225205</c:v>
                </c:pt>
                <c:pt idx="191">
                  <c:v>268.46440715883671</c:v>
                </c:pt>
                <c:pt idx="192">
                  <c:v>265.01449105145417</c:v>
                </c:pt>
                <c:pt idx="193">
                  <c:v>256.88802199850858</c:v>
                </c:pt>
                <c:pt idx="194">
                  <c:v>264.70783184190901</c:v>
                </c:pt>
                <c:pt idx="195">
                  <c:v>262.10122856077555</c:v>
                </c:pt>
                <c:pt idx="196">
                  <c:v>263.40453020134225</c:v>
                </c:pt>
                <c:pt idx="197">
                  <c:v>262.33122296793442</c:v>
                </c:pt>
                <c:pt idx="198">
                  <c:v>256.81135719612234</c:v>
                </c:pt>
                <c:pt idx="199">
                  <c:v>257.27134601043997</c:v>
                </c:pt>
                <c:pt idx="200">
                  <c:v>254.35808351976141</c:v>
                </c:pt>
                <c:pt idx="201">
                  <c:v>244.08500000000001</c:v>
                </c:pt>
                <c:pt idx="202">
                  <c:v>243.70167598806859</c:v>
                </c:pt>
                <c:pt idx="203">
                  <c:v>250.29484899328858</c:v>
                </c:pt>
                <c:pt idx="204">
                  <c:v>255.20139634601043</c:v>
                </c:pt>
                <c:pt idx="205">
                  <c:v>258.19132363907534</c:v>
                </c:pt>
                <c:pt idx="206">
                  <c:v>257.11801640566739</c:v>
                </c:pt>
                <c:pt idx="207">
                  <c:v>259.64795488441462</c:v>
                </c:pt>
                <c:pt idx="208">
                  <c:v>260.64459731543627</c:v>
                </c:pt>
                <c:pt idx="209">
                  <c:v>258.34465324384792</c:v>
                </c:pt>
                <c:pt idx="210">
                  <c:v>269.61437919463083</c:v>
                </c:pt>
                <c:pt idx="211">
                  <c:v>269.38438478747207</c:v>
                </c:pt>
                <c:pt idx="212">
                  <c:v>272.52764168530945</c:v>
                </c:pt>
                <c:pt idx="213">
                  <c:v>271.91432326621924</c:v>
                </c:pt>
                <c:pt idx="214">
                  <c:v>273.29428970917229</c:v>
                </c:pt>
                <c:pt idx="215">
                  <c:v>271.91432326621924</c:v>
                </c:pt>
                <c:pt idx="216">
                  <c:v>273.44761931394481</c:v>
                </c:pt>
                <c:pt idx="217">
                  <c:v>267.00777591349743</c:v>
                </c:pt>
                <c:pt idx="218">
                  <c:v>265.62780947054438</c:v>
                </c:pt>
                <c:pt idx="219">
                  <c:v>269.5377143922446</c:v>
                </c:pt>
                <c:pt idx="220">
                  <c:v>265.24448545861298</c:v>
                </c:pt>
                <c:pt idx="221">
                  <c:v>264.70783184190901</c:v>
                </c:pt>
                <c:pt idx="222">
                  <c:v>261.25791573452648</c:v>
                </c:pt>
                <c:pt idx="223">
                  <c:v>258.34465324384792</c:v>
                </c:pt>
                <c:pt idx="224">
                  <c:v>260.4146029082774</c:v>
                </c:pt>
                <c:pt idx="225">
                  <c:v>263.7878542132737</c:v>
                </c:pt>
                <c:pt idx="226">
                  <c:v>267.62109433258763</c:v>
                </c:pt>
                <c:pt idx="227">
                  <c:v>269.5377143922446</c:v>
                </c:pt>
                <c:pt idx="228">
                  <c:v>268.15774794929155</c:v>
                </c:pt>
                <c:pt idx="229">
                  <c:v>276.74420581655482</c:v>
                </c:pt>
                <c:pt idx="230">
                  <c:v>279.88746271439226</c:v>
                </c:pt>
                <c:pt idx="231">
                  <c:v>280.19412192393736</c:v>
                </c:pt>
                <c:pt idx="232">
                  <c:v>289.01057419835945</c:v>
                </c:pt>
                <c:pt idx="233">
                  <c:v>294.22378076062637</c:v>
                </c:pt>
                <c:pt idx="234">
                  <c:v>288.93390939597316</c:v>
                </c:pt>
                <c:pt idx="235">
                  <c:v>288.24392617449666</c:v>
                </c:pt>
                <c:pt idx="236">
                  <c:v>296.29373042505597</c:v>
                </c:pt>
                <c:pt idx="237">
                  <c:v>295.98707121551081</c:v>
                </c:pt>
                <c:pt idx="238">
                  <c:v>292.15383109619688</c:v>
                </c:pt>
                <c:pt idx="239">
                  <c:v>296.90704884414617</c:v>
                </c:pt>
                <c:pt idx="240">
                  <c:v>295.22042319164802</c:v>
                </c:pt>
                <c:pt idx="241">
                  <c:v>298.90033370618937</c:v>
                </c:pt>
                <c:pt idx="242">
                  <c:v>295.06709358687544</c:v>
                </c:pt>
                <c:pt idx="243">
                  <c:v>292.92047912005967</c:v>
                </c:pt>
                <c:pt idx="244">
                  <c:v>292.92047912005967</c:v>
                </c:pt>
                <c:pt idx="245">
                  <c:v>290.85052945563018</c:v>
                </c:pt>
                <c:pt idx="246">
                  <c:v>295.45041759880689</c:v>
                </c:pt>
                <c:pt idx="247">
                  <c:v>302.42691461595825</c:v>
                </c:pt>
                <c:pt idx="248">
                  <c:v>302.196920208799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F1-4C11-801F-9D7506A6B995}"/>
            </c:ext>
          </c:extLst>
        </c:ser>
        <c:ser>
          <c:idx val="2"/>
          <c:order val="1"/>
          <c:tx>
            <c:strRef>
              <c:f>'Sheet1 (2)'!$E$1</c:f>
              <c:strCache>
                <c:ptCount val="1"/>
                <c:pt idx="0">
                  <c:v>Price Cap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7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CF1-4C11-801F-9D7506A6B995}"/>
                </c:ext>
              </c:extLst>
            </c:dLbl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1 (2)'!$A$2:$A$250</c:f>
              <c:numCache>
                <c:formatCode>dd/mm/yyyy;@</c:formatCode>
                <c:ptCount val="249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4</c:v>
                </c:pt>
                <c:pt idx="6">
                  <c:v>44145</c:v>
                </c:pt>
                <c:pt idx="7">
                  <c:v>44146</c:v>
                </c:pt>
                <c:pt idx="8">
                  <c:v>44147</c:v>
                </c:pt>
                <c:pt idx="9">
                  <c:v>44148</c:v>
                </c:pt>
                <c:pt idx="10">
                  <c:v>44151</c:v>
                </c:pt>
                <c:pt idx="11">
                  <c:v>44152</c:v>
                </c:pt>
                <c:pt idx="12">
                  <c:v>44153</c:v>
                </c:pt>
                <c:pt idx="13">
                  <c:v>44154</c:v>
                </c:pt>
                <c:pt idx="14">
                  <c:v>44155</c:v>
                </c:pt>
                <c:pt idx="15">
                  <c:v>44158</c:v>
                </c:pt>
                <c:pt idx="16">
                  <c:v>44159</c:v>
                </c:pt>
                <c:pt idx="17">
                  <c:v>44160</c:v>
                </c:pt>
                <c:pt idx="18">
                  <c:v>44161</c:v>
                </c:pt>
                <c:pt idx="19">
                  <c:v>44162</c:v>
                </c:pt>
                <c:pt idx="20">
                  <c:v>44165</c:v>
                </c:pt>
                <c:pt idx="21">
                  <c:v>44166</c:v>
                </c:pt>
                <c:pt idx="22">
                  <c:v>44167</c:v>
                </c:pt>
                <c:pt idx="23">
                  <c:v>44168</c:v>
                </c:pt>
                <c:pt idx="24">
                  <c:v>44169</c:v>
                </c:pt>
                <c:pt idx="25">
                  <c:v>44172</c:v>
                </c:pt>
                <c:pt idx="26">
                  <c:v>44173</c:v>
                </c:pt>
                <c:pt idx="27">
                  <c:v>44174</c:v>
                </c:pt>
                <c:pt idx="28">
                  <c:v>44175</c:v>
                </c:pt>
                <c:pt idx="29">
                  <c:v>44176</c:v>
                </c:pt>
                <c:pt idx="30">
                  <c:v>44179</c:v>
                </c:pt>
                <c:pt idx="31">
                  <c:v>44180</c:v>
                </c:pt>
                <c:pt idx="32">
                  <c:v>44181</c:v>
                </c:pt>
                <c:pt idx="33">
                  <c:v>44182</c:v>
                </c:pt>
                <c:pt idx="34">
                  <c:v>44183</c:v>
                </c:pt>
                <c:pt idx="35">
                  <c:v>44186</c:v>
                </c:pt>
                <c:pt idx="36">
                  <c:v>44187</c:v>
                </c:pt>
                <c:pt idx="37">
                  <c:v>44188</c:v>
                </c:pt>
                <c:pt idx="38">
                  <c:v>44189</c:v>
                </c:pt>
                <c:pt idx="39">
                  <c:v>44194</c:v>
                </c:pt>
                <c:pt idx="40">
                  <c:v>44195</c:v>
                </c:pt>
                <c:pt idx="41">
                  <c:v>44196</c:v>
                </c:pt>
                <c:pt idx="42">
                  <c:v>44200</c:v>
                </c:pt>
                <c:pt idx="43">
                  <c:v>44201</c:v>
                </c:pt>
                <c:pt idx="44">
                  <c:v>44202</c:v>
                </c:pt>
                <c:pt idx="45">
                  <c:v>44203</c:v>
                </c:pt>
                <c:pt idx="46">
                  <c:v>44204</c:v>
                </c:pt>
                <c:pt idx="47">
                  <c:v>44207</c:v>
                </c:pt>
                <c:pt idx="48">
                  <c:v>44208</c:v>
                </c:pt>
                <c:pt idx="49">
                  <c:v>44209</c:v>
                </c:pt>
                <c:pt idx="50">
                  <c:v>44210</c:v>
                </c:pt>
                <c:pt idx="51">
                  <c:v>44211</c:v>
                </c:pt>
                <c:pt idx="52">
                  <c:v>44214</c:v>
                </c:pt>
                <c:pt idx="53">
                  <c:v>44215</c:v>
                </c:pt>
                <c:pt idx="54">
                  <c:v>44216</c:v>
                </c:pt>
                <c:pt idx="55">
                  <c:v>44217</c:v>
                </c:pt>
                <c:pt idx="56">
                  <c:v>44218</c:v>
                </c:pt>
                <c:pt idx="57">
                  <c:v>44221</c:v>
                </c:pt>
                <c:pt idx="58">
                  <c:v>44222</c:v>
                </c:pt>
                <c:pt idx="59">
                  <c:v>44223</c:v>
                </c:pt>
                <c:pt idx="60">
                  <c:v>44224</c:v>
                </c:pt>
                <c:pt idx="61">
                  <c:v>44225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5</c:v>
                </c:pt>
                <c:pt idx="68">
                  <c:v>44236</c:v>
                </c:pt>
                <c:pt idx="69">
                  <c:v>44237</c:v>
                </c:pt>
                <c:pt idx="70">
                  <c:v>44238</c:v>
                </c:pt>
                <c:pt idx="71">
                  <c:v>44239</c:v>
                </c:pt>
                <c:pt idx="72">
                  <c:v>44242</c:v>
                </c:pt>
                <c:pt idx="73">
                  <c:v>44243</c:v>
                </c:pt>
                <c:pt idx="74">
                  <c:v>44244</c:v>
                </c:pt>
                <c:pt idx="75">
                  <c:v>44245</c:v>
                </c:pt>
                <c:pt idx="76">
                  <c:v>44246</c:v>
                </c:pt>
                <c:pt idx="77">
                  <c:v>44249</c:v>
                </c:pt>
                <c:pt idx="78">
                  <c:v>44250</c:v>
                </c:pt>
                <c:pt idx="79">
                  <c:v>44251</c:v>
                </c:pt>
                <c:pt idx="80">
                  <c:v>44252</c:v>
                </c:pt>
                <c:pt idx="81">
                  <c:v>44253</c:v>
                </c:pt>
                <c:pt idx="82">
                  <c:v>44256</c:v>
                </c:pt>
                <c:pt idx="83">
                  <c:v>44257</c:v>
                </c:pt>
                <c:pt idx="84">
                  <c:v>44258</c:v>
                </c:pt>
                <c:pt idx="85">
                  <c:v>44259</c:v>
                </c:pt>
                <c:pt idx="86">
                  <c:v>44260</c:v>
                </c:pt>
                <c:pt idx="87">
                  <c:v>44263</c:v>
                </c:pt>
                <c:pt idx="88">
                  <c:v>44264</c:v>
                </c:pt>
                <c:pt idx="89">
                  <c:v>44265</c:v>
                </c:pt>
                <c:pt idx="90">
                  <c:v>44266</c:v>
                </c:pt>
                <c:pt idx="91">
                  <c:v>44267</c:v>
                </c:pt>
                <c:pt idx="92">
                  <c:v>44270</c:v>
                </c:pt>
                <c:pt idx="93">
                  <c:v>44271</c:v>
                </c:pt>
                <c:pt idx="94">
                  <c:v>44272</c:v>
                </c:pt>
                <c:pt idx="95">
                  <c:v>44273</c:v>
                </c:pt>
                <c:pt idx="96">
                  <c:v>44274</c:v>
                </c:pt>
                <c:pt idx="97">
                  <c:v>44277</c:v>
                </c:pt>
                <c:pt idx="98">
                  <c:v>44278</c:v>
                </c:pt>
                <c:pt idx="99">
                  <c:v>44279</c:v>
                </c:pt>
                <c:pt idx="100">
                  <c:v>44280</c:v>
                </c:pt>
                <c:pt idx="101">
                  <c:v>44281</c:v>
                </c:pt>
                <c:pt idx="102">
                  <c:v>44284</c:v>
                </c:pt>
                <c:pt idx="103">
                  <c:v>44285</c:v>
                </c:pt>
                <c:pt idx="104">
                  <c:v>44286</c:v>
                </c:pt>
                <c:pt idx="105">
                  <c:v>44287</c:v>
                </c:pt>
                <c:pt idx="106">
                  <c:v>44292</c:v>
                </c:pt>
                <c:pt idx="107">
                  <c:v>44293</c:v>
                </c:pt>
                <c:pt idx="108">
                  <c:v>44294</c:v>
                </c:pt>
                <c:pt idx="109">
                  <c:v>44295</c:v>
                </c:pt>
                <c:pt idx="110">
                  <c:v>44298</c:v>
                </c:pt>
                <c:pt idx="111">
                  <c:v>44299</c:v>
                </c:pt>
                <c:pt idx="112">
                  <c:v>44300</c:v>
                </c:pt>
                <c:pt idx="113">
                  <c:v>44301</c:v>
                </c:pt>
                <c:pt idx="114">
                  <c:v>44302</c:v>
                </c:pt>
                <c:pt idx="115">
                  <c:v>44305</c:v>
                </c:pt>
                <c:pt idx="116">
                  <c:v>44306</c:v>
                </c:pt>
                <c:pt idx="117">
                  <c:v>44307</c:v>
                </c:pt>
                <c:pt idx="118">
                  <c:v>44308</c:v>
                </c:pt>
                <c:pt idx="119">
                  <c:v>44309</c:v>
                </c:pt>
                <c:pt idx="120">
                  <c:v>44312</c:v>
                </c:pt>
                <c:pt idx="121">
                  <c:v>44313</c:v>
                </c:pt>
                <c:pt idx="122">
                  <c:v>44314</c:v>
                </c:pt>
                <c:pt idx="123">
                  <c:v>44315</c:v>
                </c:pt>
                <c:pt idx="124">
                  <c:v>44316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3</c:v>
                </c:pt>
                <c:pt idx="135">
                  <c:v>44334</c:v>
                </c:pt>
                <c:pt idx="136">
                  <c:v>44335</c:v>
                </c:pt>
                <c:pt idx="137">
                  <c:v>44336</c:v>
                </c:pt>
                <c:pt idx="138">
                  <c:v>44337</c:v>
                </c:pt>
                <c:pt idx="139">
                  <c:v>44340</c:v>
                </c:pt>
                <c:pt idx="140">
                  <c:v>44341</c:v>
                </c:pt>
                <c:pt idx="141">
                  <c:v>44342</c:v>
                </c:pt>
                <c:pt idx="142">
                  <c:v>44343</c:v>
                </c:pt>
                <c:pt idx="143">
                  <c:v>44344</c:v>
                </c:pt>
                <c:pt idx="144">
                  <c:v>44348</c:v>
                </c:pt>
                <c:pt idx="145">
                  <c:v>44349</c:v>
                </c:pt>
                <c:pt idx="146">
                  <c:v>44350</c:v>
                </c:pt>
                <c:pt idx="147">
                  <c:v>44351</c:v>
                </c:pt>
                <c:pt idx="148">
                  <c:v>44354</c:v>
                </c:pt>
                <c:pt idx="149">
                  <c:v>44355</c:v>
                </c:pt>
                <c:pt idx="150">
                  <c:v>44356</c:v>
                </c:pt>
                <c:pt idx="151">
                  <c:v>44357</c:v>
                </c:pt>
                <c:pt idx="152">
                  <c:v>44358</c:v>
                </c:pt>
                <c:pt idx="153">
                  <c:v>44361</c:v>
                </c:pt>
                <c:pt idx="154">
                  <c:v>44362</c:v>
                </c:pt>
                <c:pt idx="155">
                  <c:v>44363</c:v>
                </c:pt>
                <c:pt idx="156">
                  <c:v>44364</c:v>
                </c:pt>
                <c:pt idx="157">
                  <c:v>44365</c:v>
                </c:pt>
                <c:pt idx="158">
                  <c:v>44368</c:v>
                </c:pt>
                <c:pt idx="159">
                  <c:v>44369</c:v>
                </c:pt>
                <c:pt idx="160">
                  <c:v>44370</c:v>
                </c:pt>
                <c:pt idx="161">
                  <c:v>44371</c:v>
                </c:pt>
                <c:pt idx="162">
                  <c:v>44372</c:v>
                </c:pt>
                <c:pt idx="163">
                  <c:v>44375</c:v>
                </c:pt>
                <c:pt idx="164">
                  <c:v>44376</c:v>
                </c:pt>
                <c:pt idx="165">
                  <c:v>44377</c:v>
                </c:pt>
                <c:pt idx="166">
                  <c:v>44378</c:v>
                </c:pt>
                <c:pt idx="167">
                  <c:v>44379</c:v>
                </c:pt>
                <c:pt idx="168">
                  <c:v>44382</c:v>
                </c:pt>
                <c:pt idx="169">
                  <c:v>44383</c:v>
                </c:pt>
                <c:pt idx="170">
                  <c:v>44384</c:v>
                </c:pt>
                <c:pt idx="171">
                  <c:v>44385</c:v>
                </c:pt>
                <c:pt idx="172">
                  <c:v>44386</c:v>
                </c:pt>
                <c:pt idx="173">
                  <c:v>44389</c:v>
                </c:pt>
                <c:pt idx="174">
                  <c:v>44390</c:v>
                </c:pt>
                <c:pt idx="175">
                  <c:v>44391</c:v>
                </c:pt>
                <c:pt idx="176">
                  <c:v>44392</c:v>
                </c:pt>
                <c:pt idx="177">
                  <c:v>44393</c:v>
                </c:pt>
                <c:pt idx="178">
                  <c:v>44396</c:v>
                </c:pt>
                <c:pt idx="179">
                  <c:v>44397</c:v>
                </c:pt>
                <c:pt idx="180">
                  <c:v>44398</c:v>
                </c:pt>
                <c:pt idx="181">
                  <c:v>44399</c:v>
                </c:pt>
                <c:pt idx="182">
                  <c:v>44400</c:v>
                </c:pt>
                <c:pt idx="183">
                  <c:v>44403</c:v>
                </c:pt>
                <c:pt idx="184">
                  <c:v>44404</c:v>
                </c:pt>
                <c:pt idx="185">
                  <c:v>44405</c:v>
                </c:pt>
                <c:pt idx="186">
                  <c:v>44406</c:v>
                </c:pt>
                <c:pt idx="187">
                  <c:v>44407</c:v>
                </c:pt>
                <c:pt idx="188">
                  <c:v>44410</c:v>
                </c:pt>
                <c:pt idx="189">
                  <c:v>44411</c:v>
                </c:pt>
                <c:pt idx="190">
                  <c:v>44412</c:v>
                </c:pt>
                <c:pt idx="191">
                  <c:v>44413</c:v>
                </c:pt>
                <c:pt idx="192" formatCode="m/d/yyyy">
                  <c:v>44414</c:v>
                </c:pt>
                <c:pt idx="193" formatCode="m/d/yyyy">
                  <c:v>44417</c:v>
                </c:pt>
                <c:pt idx="194" formatCode="m/d/yyyy">
                  <c:v>44418</c:v>
                </c:pt>
                <c:pt idx="195" formatCode="m/d/yyyy">
                  <c:v>44419</c:v>
                </c:pt>
                <c:pt idx="196" formatCode="m/d/yyyy">
                  <c:v>44420</c:v>
                </c:pt>
                <c:pt idx="197" formatCode="m/d/yyyy">
                  <c:v>44421</c:v>
                </c:pt>
                <c:pt idx="198" formatCode="m/d/yyyy">
                  <c:v>44424</c:v>
                </c:pt>
                <c:pt idx="199" formatCode="m/d/yyyy">
                  <c:v>44425</c:v>
                </c:pt>
                <c:pt idx="200" formatCode="m/d/yyyy">
                  <c:v>44426</c:v>
                </c:pt>
                <c:pt idx="201" formatCode="m/d/yyyy">
                  <c:v>44427</c:v>
                </c:pt>
                <c:pt idx="202" formatCode="m/d/yyyy">
                  <c:v>44428</c:v>
                </c:pt>
                <c:pt idx="203" formatCode="m/d/yyyy">
                  <c:v>44431</c:v>
                </c:pt>
                <c:pt idx="204" formatCode="m/d/yyyy">
                  <c:v>44432</c:v>
                </c:pt>
                <c:pt idx="205" formatCode="m/d/yyyy">
                  <c:v>44433</c:v>
                </c:pt>
                <c:pt idx="206" formatCode="m/d/yyyy">
                  <c:v>44434</c:v>
                </c:pt>
                <c:pt idx="207" formatCode="m/d/yyyy">
                  <c:v>44435</c:v>
                </c:pt>
                <c:pt idx="208">
                  <c:v>44439</c:v>
                </c:pt>
                <c:pt idx="209">
                  <c:v>44440</c:v>
                </c:pt>
                <c:pt idx="210">
                  <c:v>44441</c:v>
                </c:pt>
                <c:pt idx="211">
                  <c:v>44442</c:v>
                </c:pt>
                <c:pt idx="212" formatCode="m/d/yyyy">
                  <c:v>44445</c:v>
                </c:pt>
                <c:pt idx="213" formatCode="m/d/yyyy">
                  <c:v>44446</c:v>
                </c:pt>
                <c:pt idx="214" formatCode="m/d/yyyy">
                  <c:v>44447</c:v>
                </c:pt>
                <c:pt idx="215" formatCode="m/d/yyyy">
                  <c:v>44448</c:v>
                </c:pt>
                <c:pt idx="216" formatCode="m/d/yyyy">
                  <c:v>44449</c:v>
                </c:pt>
                <c:pt idx="217" formatCode="m/d/yyyy">
                  <c:v>44452</c:v>
                </c:pt>
                <c:pt idx="218" formatCode="m/d/yyyy">
                  <c:v>44453</c:v>
                </c:pt>
                <c:pt idx="219" formatCode="m/d/yyyy">
                  <c:v>44454</c:v>
                </c:pt>
                <c:pt idx="220" formatCode="m/d/yyyy">
                  <c:v>44455</c:v>
                </c:pt>
                <c:pt idx="221" formatCode="m/d/yyyy">
                  <c:v>44456</c:v>
                </c:pt>
                <c:pt idx="222" formatCode="m/d/yyyy">
                  <c:v>44459</c:v>
                </c:pt>
                <c:pt idx="223" formatCode="m/d/yyyy">
                  <c:v>44460</c:v>
                </c:pt>
                <c:pt idx="224" formatCode="m/d/yyyy">
                  <c:v>44461</c:v>
                </c:pt>
                <c:pt idx="225" formatCode="m/d/yyyy">
                  <c:v>44462</c:v>
                </c:pt>
                <c:pt idx="226" formatCode="m/d/yyyy">
                  <c:v>44463</c:v>
                </c:pt>
                <c:pt idx="227" formatCode="m/d/yyyy">
                  <c:v>44466</c:v>
                </c:pt>
                <c:pt idx="228" formatCode="m/d/yyyy">
                  <c:v>44467</c:v>
                </c:pt>
                <c:pt idx="229" formatCode="m/d/yyyy">
                  <c:v>44468</c:v>
                </c:pt>
                <c:pt idx="230" formatCode="m/d/yyyy">
                  <c:v>44469</c:v>
                </c:pt>
                <c:pt idx="231" formatCode="m/d/yyyy">
                  <c:v>44470</c:v>
                </c:pt>
                <c:pt idx="232" formatCode="m/d/yyyy">
                  <c:v>44473</c:v>
                </c:pt>
                <c:pt idx="233" formatCode="m/d/yyyy">
                  <c:v>44474</c:v>
                </c:pt>
                <c:pt idx="234" formatCode="m/d/yyyy">
                  <c:v>44475</c:v>
                </c:pt>
                <c:pt idx="235" formatCode="m/d/yyyy">
                  <c:v>44476</c:v>
                </c:pt>
                <c:pt idx="236" formatCode="m/d/yyyy">
                  <c:v>44477</c:v>
                </c:pt>
                <c:pt idx="237" formatCode="m/d/yyyy">
                  <c:v>44480</c:v>
                </c:pt>
                <c:pt idx="238" formatCode="m/d/yyyy">
                  <c:v>44481</c:v>
                </c:pt>
                <c:pt idx="239" formatCode="m/d/yyyy">
                  <c:v>44482</c:v>
                </c:pt>
                <c:pt idx="240" formatCode="m/d/yyyy">
                  <c:v>44483</c:v>
                </c:pt>
                <c:pt idx="241" formatCode="m/d/yyyy">
                  <c:v>44484</c:v>
                </c:pt>
                <c:pt idx="242" formatCode="m/d/yyyy">
                  <c:v>44487</c:v>
                </c:pt>
                <c:pt idx="243" formatCode="m/d/yyyy">
                  <c:v>44488</c:v>
                </c:pt>
                <c:pt idx="244" formatCode="m/d/yyyy">
                  <c:v>44489</c:v>
                </c:pt>
                <c:pt idx="245" formatCode="m/d/yyyy">
                  <c:v>44490</c:v>
                </c:pt>
                <c:pt idx="246" formatCode="m/d/yyyy">
                  <c:v>44491</c:v>
                </c:pt>
                <c:pt idx="247" formatCode="m/d/yyyy">
                  <c:v>44494</c:v>
                </c:pt>
                <c:pt idx="248" formatCode="m/d/yyyy">
                  <c:v>44495</c:v>
                </c:pt>
              </c:numCache>
            </c:numRef>
          </c:cat>
          <c:val>
            <c:numRef>
              <c:f>'Sheet1 (2)'!$E$2:$E$250</c:f>
              <c:numCache>
                <c:formatCode>General</c:formatCode>
                <c:ptCount val="249"/>
                <c:pt idx="0">
                  <c:v>162</c:v>
                </c:pt>
                <c:pt idx="1">
                  <c:v>162</c:v>
                </c:pt>
                <c:pt idx="2">
                  <c:v>162</c:v>
                </c:pt>
                <c:pt idx="3">
                  <c:v>162</c:v>
                </c:pt>
                <c:pt idx="4">
                  <c:v>162</c:v>
                </c:pt>
                <c:pt idx="5">
                  <c:v>162</c:v>
                </c:pt>
                <c:pt idx="6">
                  <c:v>162</c:v>
                </c:pt>
                <c:pt idx="7">
                  <c:v>162</c:v>
                </c:pt>
                <c:pt idx="8">
                  <c:v>162</c:v>
                </c:pt>
                <c:pt idx="9">
                  <c:v>162</c:v>
                </c:pt>
                <c:pt idx="10">
                  <c:v>162</c:v>
                </c:pt>
                <c:pt idx="11">
                  <c:v>162</c:v>
                </c:pt>
                <c:pt idx="12">
                  <c:v>162</c:v>
                </c:pt>
                <c:pt idx="13">
                  <c:v>162</c:v>
                </c:pt>
                <c:pt idx="14">
                  <c:v>162</c:v>
                </c:pt>
                <c:pt idx="15">
                  <c:v>162</c:v>
                </c:pt>
                <c:pt idx="16">
                  <c:v>162</c:v>
                </c:pt>
                <c:pt idx="17">
                  <c:v>162</c:v>
                </c:pt>
                <c:pt idx="18">
                  <c:v>162</c:v>
                </c:pt>
                <c:pt idx="19">
                  <c:v>162</c:v>
                </c:pt>
                <c:pt idx="20">
                  <c:v>162</c:v>
                </c:pt>
                <c:pt idx="21">
                  <c:v>162</c:v>
                </c:pt>
                <c:pt idx="22">
                  <c:v>162</c:v>
                </c:pt>
                <c:pt idx="23">
                  <c:v>162</c:v>
                </c:pt>
                <c:pt idx="24">
                  <c:v>162</c:v>
                </c:pt>
                <c:pt idx="25">
                  <c:v>162</c:v>
                </c:pt>
                <c:pt idx="26">
                  <c:v>162</c:v>
                </c:pt>
                <c:pt idx="27">
                  <c:v>162</c:v>
                </c:pt>
                <c:pt idx="28">
                  <c:v>162</c:v>
                </c:pt>
                <c:pt idx="29">
                  <c:v>162</c:v>
                </c:pt>
                <c:pt idx="30">
                  <c:v>162</c:v>
                </c:pt>
                <c:pt idx="31">
                  <c:v>162</c:v>
                </c:pt>
                <c:pt idx="32">
                  <c:v>162</c:v>
                </c:pt>
                <c:pt idx="33">
                  <c:v>162</c:v>
                </c:pt>
                <c:pt idx="34">
                  <c:v>162</c:v>
                </c:pt>
                <c:pt idx="35">
                  <c:v>162</c:v>
                </c:pt>
                <c:pt idx="36">
                  <c:v>162</c:v>
                </c:pt>
                <c:pt idx="37">
                  <c:v>162</c:v>
                </c:pt>
                <c:pt idx="38">
                  <c:v>162</c:v>
                </c:pt>
                <c:pt idx="39">
                  <c:v>162</c:v>
                </c:pt>
                <c:pt idx="40">
                  <c:v>162</c:v>
                </c:pt>
                <c:pt idx="41">
                  <c:v>162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2</c:v>
                </c:pt>
                <c:pt idx="46">
                  <c:v>162</c:v>
                </c:pt>
                <c:pt idx="47">
                  <c:v>162</c:v>
                </c:pt>
                <c:pt idx="48">
                  <c:v>162</c:v>
                </c:pt>
                <c:pt idx="49">
                  <c:v>162</c:v>
                </c:pt>
                <c:pt idx="50">
                  <c:v>162</c:v>
                </c:pt>
                <c:pt idx="51">
                  <c:v>162</c:v>
                </c:pt>
                <c:pt idx="52">
                  <c:v>162</c:v>
                </c:pt>
                <c:pt idx="53">
                  <c:v>162</c:v>
                </c:pt>
                <c:pt idx="54">
                  <c:v>162</c:v>
                </c:pt>
                <c:pt idx="55">
                  <c:v>162</c:v>
                </c:pt>
                <c:pt idx="56">
                  <c:v>162</c:v>
                </c:pt>
                <c:pt idx="57">
                  <c:v>162</c:v>
                </c:pt>
                <c:pt idx="58">
                  <c:v>162</c:v>
                </c:pt>
                <c:pt idx="59">
                  <c:v>162</c:v>
                </c:pt>
                <c:pt idx="60">
                  <c:v>162</c:v>
                </c:pt>
                <c:pt idx="61">
                  <c:v>162</c:v>
                </c:pt>
                <c:pt idx="62">
                  <c:v>162</c:v>
                </c:pt>
                <c:pt idx="63">
                  <c:v>162</c:v>
                </c:pt>
                <c:pt idx="64">
                  <c:v>162</c:v>
                </c:pt>
                <c:pt idx="65">
                  <c:v>162</c:v>
                </c:pt>
                <c:pt idx="66">
                  <c:v>162</c:v>
                </c:pt>
                <c:pt idx="67">
                  <c:v>162</c:v>
                </c:pt>
                <c:pt idx="68">
                  <c:v>162</c:v>
                </c:pt>
                <c:pt idx="69">
                  <c:v>162</c:v>
                </c:pt>
                <c:pt idx="70">
                  <c:v>162</c:v>
                </c:pt>
                <c:pt idx="71">
                  <c:v>162</c:v>
                </c:pt>
                <c:pt idx="72">
                  <c:v>162</c:v>
                </c:pt>
                <c:pt idx="73">
                  <c:v>162</c:v>
                </c:pt>
                <c:pt idx="74">
                  <c:v>162</c:v>
                </c:pt>
                <c:pt idx="75">
                  <c:v>162</c:v>
                </c:pt>
                <c:pt idx="76">
                  <c:v>162</c:v>
                </c:pt>
                <c:pt idx="77">
                  <c:v>162</c:v>
                </c:pt>
                <c:pt idx="78">
                  <c:v>162</c:v>
                </c:pt>
                <c:pt idx="79">
                  <c:v>162</c:v>
                </c:pt>
                <c:pt idx="80">
                  <c:v>162</c:v>
                </c:pt>
                <c:pt idx="81">
                  <c:v>162</c:v>
                </c:pt>
                <c:pt idx="82">
                  <c:v>162</c:v>
                </c:pt>
                <c:pt idx="83">
                  <c:v>162</c:v>
                </c:pt>
                <c:pt idx="84">
                  <c:v>162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2</c:v>
                </c:pt>
                <c:pt idx="91">
                  <c:v>162</c:v>
                </c:pt>
                <c:pt idx="92">
                  <c:v>162</c:v>
                </c:pt>
                <c:pt idx="93">
                  <c:v>162</c:v>
                </c:pt>
                <c:pt idx="94">
                  <c:v>162</c:v>
                </c:pt>
                <c:pt idx="95">
                  <c:v>162</c:v>
                </c:pt>
                <c:pt idx="96">
                  <c:v>162</c:v>
                </c:pt>
                <c:pt idx="97">
                  <c:v>162</c:v>
                </c:pt>
                <c:pt idx="98">
                  <c:v>162</c:v>
                </c:pt>
                <c:pt idx="99">
                  <c:v>162</c:v>
                </c:pt>
                <c:pt idx="100">
                  <c:v>162</c:v>
                </c:pt>
                <c:pt idx="101">
                  <c:v>162</c:v>
                </c:pt>
                <c:pt idx="102">
                  <c:v>162</c:v>
                </c:pt>
                <c:pt idx="103">
                  <c:v>162</c:v>
                </c:pt>
                <c:pt idx="104">
                  <c:v>162</c:v>
                </c:pt>
                <c:pt idx="105">
                  <c:v>162</c:v>
                </c:pt>
                <c:pt idx="106">
                  <c:v>162</c:v>
                </c:pt>
                <c:pt idx="107">
                  <c:v>162</c:v>
                </c:pt>
                <c:pt idx="108">
                  <c:v>162</c:v>
                </c:pt>
                <c:pt idx="109">
                  <c:v>162</c:v>
                </c:pt>
                <c:pt idx="110">
                  <c:v>162</c:v>
                </c:pt>
                <c:pt idx="111">
                  <c:v>162</c:v>
                </c:pt>
                <c:pt idx="112">
                  <c:v>162</c:v>
                </c:pt>
                <c:pt idx="113">
                  <c:v>162</c:v>
                </c:pt>
                <c:pt idx="114">
                  <c:v>162</c:v>
                </c:pt>
                <c:pt idx="115">
                  <c:v>162</c:v>
                </c:pt>
                <c:pt idx="116">
                  <c:v>162</c:v>
                </c:pt>
                <c:pt idx="117">
                  <c:v>162</c:v>
                </c:pt>
                <c:pt idx="118">
                  <c:v>162</c:v>
                </c:pt>
                <c:pt idx="119">
                  <c:v>162</c:v>
                </c:pt>
                <c:pt idx="120">
                  <c:v>162</c:v>
                </c:pt>
                <c:pt idx="121">
                  <c:v>162</c:v>
                </c:pt>
                <c:pt idx="122">
                  <c:v>162</c:v>
                </c:pt>
                <c:pt idx="123">
                  <c:v>162</c:v>
                </c:pt>
                <c:pt idx="124">
                  <c:v>162</c:v>
                </c:pt>
                <c:pt idx="125">
                  <c:v>162</c:v>
                </c:pt>
                <c:pt idx="126">
                  <c:v>162</c:v>
                </c:pt>
                <c:pt idx="127">
                  <c:v>162</c:v>
                </c:pt>
                <c:pt idx="128">
                  <c:v>162</c:v>
                </c:pt>
                <c:pt idx="129">
                  <c:v>162</c:v>
                </c:pt>
                <c:pt idx="130">
                  <c:v>162</c:v>
                </c:pt>
                <c:pt idx="131">
                  <c:v>162</c:v>
                </c:pt>
                <c:pt idx="132">
                  <c:v>162</c:v>
                </c:pt>
                <c:pt idx="133">
                  <c:v>162</c:v>
                </c:pt>
                <c:pt idx="134">
                  <c:v>162</c:v>
                </c:pt>
                <c:pt idx="135">
                  <c:v>162</c:v>
                </c:pt>
                <c:pt idx="136">
                  <c:v>162</c:v>
                </c:pt>
                <c:pt idx="137">
                  <c:v>162</c:v>
                </c:pt>
                <c:pt idx="138">
                  <c:v>162</c:v>
                </c:pt>
                <c:pt idx="139">
                  <c:v>162</c:v>
                </c:pt>
                <c:pt idx="140">
                  <c:v>162</c:v>
                </c:pt>
                <c:pt idx="141">
                  <c:v>162</c:v>
                </c:pt>
                <c:pt idx="142">
                  <c:v>162</c:v>
                </c:pt>
                <c:pt idx="143">
                  <c:v>162</c:v>
                </c:pt>
                <c:pt idx="144">
                  <c:v>162</c:v>
                </c:pt>
                <c:pt idx="145">
                  <c:v>162</c:v>
                </c:pt>
                <c:pt idx="146">
                  <c:v>162</c:v>
                </c:pt>
                <c:pt idx="147">
                  <c:v>162</c:v>
                </c:pt>
                <c:pt idx="148">
                  <c:v>162</c:v>
                </c:pt>
                <c:pt idx="149">
                  <c:v>162</c:v>
                </c:pt>
                <c:pt idx="150">
                  <c:v>162</c:v>
                </c:pt>
                <c:pt idx="151">
                  <c:v>162</c:v>
                </c:pt>
                <c:pt idx="152">
                  <c:v>162</c:v>
                </c:pt>
                <c:pt idx="153">
                  <c:v>162</c:v>
                </c:pt>
                <c:pt idx="154">
                  <c:v>162</c:v>
                </c:pt>
                <c:pt idx="155">
                  <c:v>162</c:v>
                </c:pt>
                <c:pt idx="156">
                  <c:v>162</c:v>
                </c:pt>
                <c:pt idx="157">
                  <c:v>162</c:v>
                </c:pt>
                <c:pt idx="158">
                  <c:v>162</c:v>
                </c:pt>
                <c:pt idx="159">
                  <c:v>162</c:v>
                </c:pt>
                <c:pt idx="160">
                  <c:v>162</c:v>
                </c:pt>
                <c:pt idx="161">
                  <c:v>162</c:v>
                </c:pt>
                <c:pt idx="162">
                  <c:v>162</c:v>
                </c:pt>
                <c:pt idx="163">
                  <c:v>162</c:v>
                </c:pt>
                <c:pt idx="164">
                  <c:v>162</c:v>
                </c:pt>
                <c:pt idx="165">
                  <c:v>162</c:v>
                </c:pt>
                <c:pt idx="166">
                  <c:v>162</c:v>
                </c:pt>
                <c:pt idx="167">
                  <c:v>162</c:v>
                </c:pt>
                <c:pt idx="168">
                  <c:v>162</c:v>
                </c:pt>
                <c:pt idx="169">
                  <c:v>162</c:v>
                </c:pt>
                <c:pt idx="170">
                  <c:v>162</c:v>
                </c:pt>
                <c:pt idx="171">
                  <c:v>162</c:v>
                </c:pt>
                <c:pt idx="172">
                  <c:v>162</c:v>
                </c:pt>
                <c:pt idx="173">
                  <c:v>162</c:v>
                </c:pt>
                <c:pt idx="174">
                  <c:v>162</c:v>
                </c:pt>
                <c:pt idx="175">
                  <c:v>162</c:v>
                </c:pt>
                <c:pt idx="176">
                  <c:v>162</c:v>
                </c:pt>
                <c:pt idx="177">
                  <c:v>162</c:v>
                </c:pt>
                <c:pt idx="178">
                  <c:v>162</c:v>
                </c:pt>
                <c:pt idx="179">
                  <c:v>162</c:v>
                </c:pt>
                <c:pt idx="180">
                  <c:v>162</c:v>
                </c:pt>
                <c:pt idx="181">
                  <c:v>162</c:v>
                </c:pt>
                <c:pt idx="182">
                  <c:v>162</c:v>
                </c:pt>
                <c:pt idx="183">
                  <c:v>162</c:v>
                </c:pt>
                <c:pt idx="184">
                  <c:v>162</c:v>
                </c:pt>
                <c:pt idx="185">
                  <c:v>162</c:v>
                </c:pt>
                <c:pt idx="186">
                  <c:v>162</c:v>
                </c:pt>
                <c:pt idx="187">
                  <c:v>162</c:v>
                </c:pt>
                <c:pt idx="188">
                  <c:v>162</c:v>
                </c:pt>
                <c:pt idx="189">
                  <c:v>162</c:v>
                </c:pt>
                <c:pt idx="190">
                  <c:v>162</c:v>
                </c:pt>
                <c:pt idx="191">
                  <c:v>162</c:v>
                </c:pt>
                <c:pt idx="192">
                  <c:v>162</c:v>
                </c:pt>
                <c:pt idx="193">
                  <c:v>162</c:v>
                </c:pt>
                <c:pt idx="194">
                  <c:v>162</c:v>
                </c:pt>
                <c:pt idx="195">
                  <c:v>162</c:v>
                </c:pt>
                <c:pt idx="196">
                  <c:v>162</c:v>
                </c:pt>
                <c:pt idx="197">
                  <c:v>162</c:v>
                </c:pt>
                <c:pt idx="198">
                  <c:v>162</c:v>
                </c:pt>
                <c:pt idx="199">
                  <c:v>162</c:v>
                </c:pt>
                <c:pt idx="200">
                  <c:v>162</c:v>
                </c:pt>
                <c:pt idx="201">
                  <c:v>162</c:v>
                </c:pt>
                <c:pt idx="202">
                  <c:v>162</c:v>
                </c:pt>
                <c:pt idx="203">
                  <c:v>162</c:v>
                </c:pt>
                <c:pt idx="204">
                  <c:v>162</c:v>
                </c:pt>
                <c:pt idx="205">
                  <c:v>162</c:v>
                </c:pt>
                <c:pt idx="206">
                  <c:v>162</c:v>
                </c:pt>
                <c:pt idx="207">
                  <c:v>162</c:v>
                </c:pt>
                <c:pt idx="208">
                  <c:v>162</c:v>
                </c:pt>
                <c:pt idx="209">
                  <c:v>162</c:v>
                </c:pt>
                <c:pt idx="210">
                  <c:v>162</c:v>
                </c:pt>
                <c:pt idx="211">
                  <c:v>162</c:v>
                </c:pt>
                <c:pt idx="212">
                  <c:v>162</c:v>
                </c:pt>
                <c:pt idx="213">
                  <c:v>162</c:v>
                </c:pt>
                <c:pt idx="214">
                  <c:v>162</c:v>
                </c:pt>
                <c:pt idx="215">
                  <c:v>162</c:v>
                </c:pt>
                <c:pt idx="216">
                  <c:v>162</c:v>
                </c:pt>
                <c:pt idx="217">
                  <c:v>162</c:v>
                </c:pt>
                <c:pt idx="218">
                  <c:v>162</c:v>
                </c:pt>
                <c:pt idx="219">
                  <c:v>162</c:v>
                </c:pt>
                <c:pt idx="220">
                  <c:v>162</c:v>
                </c:pt>
                <c:pt idx="221">
                  <c:v>162</c:v>
                </c:pt>
                <c:pt idx="222">
                  <c:v>162</c:v>
                </c:pt>
                <c:pt idx="223">
                  <c:v>162</c:v>
                </c:pt>
                <c:pt idx="224">
                  <c:v>162</c:v>
                </c:pt>
                <c:pt idx="225">
                  <c:v>162</c:v>
                </c:pt>
                <c:pt idx="226">
                  <c:v>162</c:v>
                </c:pt>
                <c:pt idx="227">
                  <c:v>162</c:v>
                </c:pt>
                <c:pt idx="228">
                  <c:v>162</c:v>
                </c:pt>
                <c:pt idx="229">
                  <c:v>162</c:v>
                </c:pt>
                <c:pt idx="230">
                  <c:v>162</c:v>
                </c:pt>
                <c:pt idx="231">
                  <c:v>162</c:v>
                </c:pt>
                <c:pt idx="232">
                  <c:v>162</c:v>
                </c:pt>
                <c:pt idx="233">
                  <c:v>162</c:v>
                </c:pt>
                <c:pt idx="234">
                  <c:v>162</c:v>
                </c:pt>
                <c:pt idx="235">
                  <c:v>162</c:v>
                </c:pt>
                <c:pt idx="236">
                  <c:v>162</c:v>
                </c:pt>
                <c:pt idx="237">
                  <c:v>162</c:v>
                </c:pt>
                <c:pt idx="238">
                  <c:v>162</c:v>
                </c:pt>
                <c:pt idx="239">
                  <c:v>162</c:v>
                </c:pt>
                <c:pt idx="240">
                  <c:v>163</c:v>
                </c:pt>
                <c:pt idx="241">
                  <c:v>163</c:v>
                </c:pt>
                <c:pt idx="242">
                  <c:v>163</c:v>
                </c:pt>
                <c:pt idx="243">
                  <c:v>163</c:v>
                </c:pt>
                <c:pt idx="244">
                  <c:v>163</c:v>
                </c:pt>
                <c:pt idx="245">
                  <c:v>163</c:v>
                </c:pt>
                <c:pt idx="246">
                  <c:v>163</c:v>
                </c:pt>
                <c:pt idx="247">
                  <c:v>163</c:v>
                </c:pt>
                <c:pt idx="248">
                  <c:v>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F1-4C11-801F-9D7506A6B995}"/>
            </c:ext>
          </c:extLst>
        </c:ser>
        <c:ser>
          <c:idx val="0"/>
          <c:order val="2"/>
          <c:tx>
            <c:strRef>
              <c:f>'Sheet1 (2)'!$D$1</c:f>
              <c:strCache>
                <c:ptCount val="1"/>
                <c:pt idx="0">
                  <c:v>PMS (I&amp;E fx)</c:v>
                </c:pt>
              </c:strCache>
            </c:strRef>
          </c:tx>
          <c:spPr>
            <a:ln w="28575" cap="rnd">
              <a:solidFill>
                <a:srgbClr val="DBE767"/>
              </a:solidFill>
              <a:round/>
            </a:ln>
            <a:effectLst/>
          </c:spPr>
          <c:marker>
            <c:symbol val="none"/>
          </c:marker>
          <c:dLbls>
            <c:dLbl>
              <c:idx val="248"/>
              <c:layout>
                <c:manualLayout>
                  <c:x val="0"/>
                  <c:y val="-4.0962628788271872E-2"/>
                </c:manualLayout>
              </c:layout>
              <c:numFmt formatCode="#,##0" sourceLinked="0"/>
              <c:spPr>
                <a:solidFill>
                  <a:srgbClr val="DBE767"/>
                </a:solidFill>
                <a:ln>
                  <a:solidFill>
                    <a:srgbClr val="DBE767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NG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F94-4FB2-A11E-032A436FB87F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Sheet1 (2)'!$D$2:$D$250</c:f>
              <c:numCache>
                <c:formatCode>_-* #,##0.000_-;\-* #,##0.000_-;_-* "-"???_-;_-@_-</c:formatCode>
                <c:ptCount val="249"/>
                <c:pt idx="0">
                  <c:v>159.7167841163311</c:v>
                </c:pt>
                <c:pt idx="1">
                  <c:v>161.44327554064131</c:v>
                </c:pt>
                <c:pt idx="2">
                  <c:v>164.582350857569</c:v>
                </c:pt>
                <c:pt idx="3">
                  <c:v>164.26844332587621</c:v>
                </c:pt>
                <c:pt idx="4">
                  <c:v>162.30652125279641</c:v>
                </c:pt>
                <c:pt idx="5">
                  <c:v>170.54659395973152</c:v>
                </c:pt>
                <c:pt idx="6">
                  <c:v>172.66546979865771</c:v>
                </c:pt>
                <c:pt idx="7">
                  <c:v>175.25520693512303</c:v>
                </c:pt>
                <c:pt idx="8">
                  <c:v>172.03765473527218</c:v>
                </c:pt>
                <c:pt idx="9">
                  <c:v>168.34924123788218</c:v>
                </c:pt>
                <c:pt idx="10">
                  <c:v>170.7820246085011</c:v>
                </c:pt>
                <c:pt idx="11">
                  <c:v>168.50619500372855</c:v>
                </c:pt>
                <c:pt idx="12">
                  <c:v>171.0959321401939</c:v>
                </c:pt>
                <c:pt idx="13">
                  <c:v>169.21248695003729</c:v>
                </c:pt>
                <c:pt idx="14">
                  <c:v>171.72374720357942</c:v>
                </c:pt>
                <c:pt idx="15">
                  <c:v>174.15653057419834</c:v>
                </c:pt>
                <c:pt idx="16">
                  <c:v>181.21945003728558</c:v>
                </c:pt>
                <c:pt idx="17">
                  <c:v>180.98401938851603</c:v>
                </c:pt>
                <c:pt idx="18">
                  <c:v>180.82706562266964</c:v>
                </c:pt>
                <c:pt idx="19">
                  <c:v>181.92574198359432</c:v>
                </c:pt>
                <c:pt idx="20">
                  <c:v>178.94362043251306</c:v>
                </c:pt>
                <c:pt idx="21">
                  <c:v>177.84494407158834</c:v>
                </c:pt>
                <c:pt idx="22">
                  <c:v>180.90554250559285</c:v>
                </c:pt>
                <c:pt idx="23">
                  <c:v>182.0042188665175</c:v>
                </c:pt>
                <c:pt idx="24">
                  <c:v>183.73071029082774</c:v>
                </c:pt>
                <c:pt idx="25">
                  <c:v>183.80918717375093</c:v>
                </c:pt>
                <c:pt idx="26">
                  <c:v>183.73071029082774</c:v>
                </c:pt>
                <c:pt idx="27">
                  <c:v>183.33832587621177</c:v>
                </c:pt>
                <c:pt idx="28">
                  <c:v>189.30256897837435</c:v>
                </c:pt>
                <c:pt idx="29">
                  <c:v>187.10521625652495</c:v>
                </c:pt>
                <c:pt idx="30">
                  <c:v>184.9863404175988</c:v>
                </c:pt>
                <c:pt idx="31">
                  <c:v>187.18369313944817</c:v>
                </c:pt>
                <c:pt idx="32">
                  <c:v>188.91018456375841</c:v>
                </c:pt>
                <c:pt idx="33">
                  <c:v>190.63667598806859</c:v>
                </c:pt>
                <c:pt idx="34">
                  <c:v>193.61879753914988</c:v>
                </c:pt>
                <c:pt idx="35">
                  <c:v>188.83170768083519</c:v>
                </c:pt>
                <c:pt idx="36">
                  <c:v>188.91018456375841</c:v>
                </c:pt>
                <c:pt idx="37">
                  <c:v>192.91250559284117</c:v>
                </c:pt>
                <c:pt idx="38">
                  <c:v>191.10753728560775</c:v>
                </c:pt>
                <c:pt idx="39">
                  <c:v>192.20621364653243</c:v>
                </c:pt>
                <c:pt idx="40">
                  <c:v>194.71747390007457</c:v>
                </c:pt>
                <c:pt idx="41">
                  <c:v>194.01118195376586</c:v>
                </c:pt>
                <c:pt idx="42">
                  <c:v>194.48204325130499</c:v>
                </c:pt>
                <c:pt idx="43">
                  <c:v>199.11217934377331</c:v>
                </c:pt>
                <c:pt idx="44">
                  <c:v>202.32973154362415</c:v>
                </c:pt>
                <c:pt idx="45">
                  <c:v>203.34993102162565</c:v>
                </c:pt>
                <c:pt idx="46">
                  <c:v>206.95986763609247</c:v>
                </c:pt>
                <c:pt idx="47">
                  <c:v>207.03834451901565</c:v>
                </c:pt>
                <c:pt idx="48">
                  <c:v>211.04066554809842</c:v>
                </c:pt>
                <c:pt idx="49">
                  <c:v>209.70655853840418</c:v>
                </c:pt>
                <c:pt idx="50">
                  <c:v>209.54960477255779</c:v>
                </c:pt>
                <c:pt idx="51">
                  <c:v>208.68635906040268</c:v>
                </c:pt>
                <c:pt idx="52">
                  <c:v>208.2939746457867</c:v>
                </c:pt>
                <c:pt idx="53">
                  <c:v>210.72675801640565</c:v>
                </c:pt>
                <c:pt idx="54">
                  <c:v>211.04066554809842</c:v>
                </c:pt>
                <c:pt idx="55">
                  <c:v>208.52940529455631</c:v>
                </c:pt>
                <c:pt idx="56">
                  <c:v>208.13702087994034</c:v>
                </c:pt>
                <c:pt idx="57">
                  <c:v>207.98006711409397</c:v>
                </c:pt>
                <c:pt idx="58">
                  <c:v>209.31417412378823</c:v>
                </c:pt>
                <c:pt idx="59">
                  <c:v>210.33437360178971</c:v>
                </c:pt>
                <c:pt idx="60">
                  <c:v>209.54960477255779</c:v>
                </c:pt>
                <c:pt idx="61">
                  <c:v>210.80523489932884</c:v>
                </c:pt>
                <c:pt idx="62">
                  <c:v>211.74695749440716</c:v>
                </c:pt>
                <c:pt idx="63">
                  <c:v>217.24033929903058</c:v>
                </c:pt>
                <c:pt idx="64">
                  <c:v>220.14398396718866</c:v>
                </c:pt>
                <c:pt idx="65">
                  <c:v>219.51616890380313</c:v>
                </c:pt>
                <c:pt idx="66">
                  <c:v>223.12610551826995</c:v>
                </c:pt>
                <c:pt idx="67">
                  <c:v>222.96915175242356</c:v>
                </c:pt>
                <c:pt idx="68">
                  <c:v>222.73372110365398</c:v>
                </c:pt>
                <c:pt idx="69">
                  <c:v>223.59696681580908</c:v>
                </c:pt>
                <c:pt idx="70">
                  <c:v>223.3615361670395</c:v>
                </c:pt>
                <c:pt idx="71">
                  <c:v>223.67544369873229</c:v>
                </c:pt>
                <c:pt idx="72">
                  <c:v>229.8751174496644</c:v>
                </c:pt>
                <c:pt idx="73">
                  <c:v>228.61948732289335</c:v>
                </c:pt>
                <c:pt idx="74">
                  <c:v>231.52313199105146</c:v>
                </c:pt>
                <c:pt idx="75">
                  <c:v>235.29002237136461</c:v>
                </c:pt>
                <c:pt idx="76">
                  <c:v>235.83936055182699</c:v>
                </c:pt>
                <c:pt idx="77">
                  <c:v>236.85956002982846</c:v>
                </c:pt>
                <c:pt idx="78">
                  <c:v>239.60625093214017</c:v>
                </c:pt>
                <c:pt idx="79">
                  <c:v>244.62877143922444</c:v>
                </c:pt>
                <c:pt idx="80">
                  <c:v>245.0996327367636</c:v>
                </c:pt>
                <c:pt idx="81">
                  <c:v>244.55029455630125</c:v>
                </c:pt>
                <c:pt idx="82">
                  <c:v>244.62877143922444</c:v>
                </c:pt>
                <c:pt idx="83">
                  <c:v>242.50989560029828</c:v>
                </c:pt>
                <c:pt idx="84">
                  <c:v>242.4314187173751</c:v>
                </c:pt>
                <c:pt idx="85">
                  <c:v>247.45393922445933</c:v>
                </c:pt>
                <c:pt idx="86">
                  <c:v>250.35758389261744</c:v>
                </c:pt>
                <c:pt idx="87">
                  <c:v>249.41586129753912</c:v>
                </c:pt>
                <c:pt idx="88">
                  <c:v>248.39566181953765</c:v>
                </c:pt>
                <c:pt idx="89">
                  <c:v>248.39566181953765</c:v>
                </c:pt>
                <c:pt idx="90">
                  <c:v>256.00791946308721</c:v>
                </c:pt>
                <c:pt idx="91">
                  <c:v>257.65593400447426</c:v>
                </c:pt>
                <c:pt idx="92">
                  <c:v>254.04599739000744</c:v>
                </c:pt>
                <c:pt idx="93">
                  <c:v>252.16255219985084</c:v>
                </c:pt>
                <c:pt idx="94">
                  <c:v>246.04135533184191</c:v>
                </c:pt>
                <c:pt idx="95">
                  <c:v>238.27214392244593</c:v>
                </c:pt>
                <c:pt idx="96">
                  <c:v>234.97611483967191</c:v>
                </c:pt>
                <c:pt idx="97">
                  <c:v>239.68472781506338</c:v>
                </c:pt>
                <c:pt idx="98">
                  <c:v>234.7406841909023</c:v>
                </c:pt>
                <c:pt idx="99">
                  <c:v>242.2744649515287</c:v>
                </c:pt>
                <c:pt idx="100">
                  <c:v>240.31254287844891</c:v>
                </c:pt>
                <c:pt idx="101">
                  <c:v>248.16023117076807</c:v>
                </c:pt>
                <c:pt idx="102">
                  <c:v>247.7678467561521</c:v>
                </c:pt>
                <c:pt idx="103">
                  <c:v>249.72976882923189</c:v>
                </c:pt>
                <c:pt idx="104">
                  <c:v>251.53473713646531</c:v>
                </c:pt>
                <c:pt idx="105">
                  <c:v>247.29698545861297</c:v>
                </c:pt>
                <c:pt idx="106">
                  <c:v>239.92015846383293</c:v>
                </c:pt>
                <c:pt idx="107">
                  <c:v>233.40657718120804</c:v>
                </c:pt>
                <c:pt idx="108">
                  <c:v>236.9380369127517</c:v>
                </c:pt>
                <c:pt idx="109">
                  <c:v>236.62412938105891</c:v>
                </c:pt>
                <c:pt idx="110">
                  <c:v>237.17346756152122</c:v>
                </c:pt>
                <c:pt idx="111">
                  <c:v>238.35062080536912</c:v>
                </c:pt>
                <c:pt idx="112">
                  <c:v>242.98075689783744</c:v>
                </c:pt>
                <c:pt idx="113">
                  <c:v>244.62877143922444</c:v>
                </c:pt>
                <c:pt idx="114">
                  <c:v>245.72744780014912</c:v>
                </c:pt>
                <c:pt idx="115">
                  <c:v>246.51221662938104</c:v>
                </c:pt>
                <c:pt idx="116">
                  <c:v>241.80360365398954</c:v>
                </c:pt>
                <c:pt idx="117">
                  <c:v>241.48969612229678</c:v>
                </c:pt>
                <c:pt idx="118">
                  <c:v>240.54797352721849</c:v>
                </c:pt>
                <c:pt idx="119">
                  <c:v>241.48969612229678</c:v>
                </c:pt>
                <c:pt idx="120">
                  <c:v>240.86188105891128</c:v>
                </c:pt>
                <c:pt idx="121">
                  <c:v>241.80360365398954</c:v>
                </c:pt>
                <c:pt idx="122">
                  <c:v>247.45393922445933</c:v>
                </c:pt>
                <c:pt idx="123">
                  <c:v>249.41586129753912</c:v>
                </c:pt>
                <c:pt idx="124">
                  <c:v>246.82612416107384</c:v>
                </c:pt>
                <c:pt idx="125">
                  <c:v>253.18275167785234</c:v>
                </c:pt>
                <c:pt idx="126">
                  <c:v>255.92944258016405</c:v>
                </c:pt>
                <c:pt idx="127">
                  <c:v>253.02579791200597</c:v>
                </c:pt>
                <c:pt idx="128">
                  <c:v>251.77016778523486</c:v>
                </c:pt>
                <c:pt idx="129">
                  <c:v>251.77016778523486</c:v>
                </c:pt>
                <c:pt idx="130">
                  <c:v>251.22082960477255</c:v>
                </c:pt>
                <c:pt idx="131">
                  <c:v>253.41818232662195</c:v>
                </c:pt>
                <c:pt idx="132">
                  <c:v>249.41586129753912</c:v>
                </c:pt>
                <c:pt idx="133">
                  <c:v>247.7678467561521</c:v>
                </c:pt>
                <c:pt idx="134">
                  <c:v>250.20063012677105</c:v>
                </c:pt>
                <c:pt idx="135">
                  <c:v>251.29930648769573</c:v>
                </c:pt>
                <c:pt idx="136">
                  <c:v>242.50989560029828</c:v>
                </c:pt>
                <c:pt idx="137">
                  <c:v>245.02115585384041</c:v>
                </c:pt>
                <c:pt idx="138">
                  <c:v>245.25658650260999</c:v>
                </c:pt>
                <c:pt idx="139">
                  <c:v>248.39566181953765</c:v>
                </c:pt>
                <c:pt idx="140">
                  <c:v>248.39566181953765</c:v>
                </c:pt>
                <c:pt idx="141">
                  <c:v>250.74996830723342</c:v>
                </c:pt>
                <c:pt idx="142">
                  <c:v>252.39798284862042</c:v>
                </c:pt>
                <c:pt idx="143">
                  <c:v>254.04599739000744</c:v>
                </c:pt>
                <c:pt idx="144">
                  <c:v>254.28142803877702</c:v>
                </c:pt>
                <c:pt idx="145">
                  <c:v>255.3016275167785</c:v>
                </c:pt>
                <c:pt idx="146">
                  <c:v>254.04599739000744</c:v>
                </c:pt>
                <c:pt idx="147">
                  <c:v>256.00791946308721</c:v>
                </c:pt>
                <c:pt idx="148">
                  <c:v>254.35990492170021</c:v>
                </c:pt>
                <c:pt idx="149">
                  <c:v>254.35990492170021</c:v>
                </c:pt>
                <c:pt idx="150">
                  <c:v>255.92944258016405</c:v>
                </c:pt>
                <c:pt idx="151">
                  <c:v>256.55725764354963</c:v>
                </c:pt>
                <c:pt idx="152">
                  <c:v>257.26354958985826</c:v>
                </c:pt>
                <c:pt idx="153">
                  <c:v>258.20527218493658</c:v>
                </c:pt>
                <c:pt idx="154">
                  <c:v>258.04831841909021</c:v>
                </c:pt>
                <c:pt idx="155">
                  <c:v>261.10891685309468</c:v>
                </c:pt>
                <c:pt idx="156">
                  <c:v>256.55725764354963</c:v>
                </c:pt>
                <c:pt idx="157">
                  <c:v>257.969841536167</c:v>
                </c:pt>
                <c:pt idx="158">
                  <c:v>261.26587061894111</c:v>
                </c:pt>
                <c:pt idx="159">
                  <c:v>263.38474645786727</c:v>
                </c:pt>
                <c:pt idx="160">
                  <c:v>267.93640566741237</c:v>
                </c:pt>
                <c:pt idx="161">
                  <c:v>268.17183631618195</c:v>
                </c:pt>
                <c:pt idx="162">
                  <c:v>269.50594332587622</c:v>
                </c:pt>
                <c:pt idx="163">
                  <c:v>267.23011372110363</c:v>
                </c:pt>
                <c:pt idx="164">
                  <c:v>268.64269761372111</c:v>
                </c:pt>
                <c:pt idx="165">
                  <c:v>268.25031319910511</c:v>
                </c:pt>
                <c:pt idx="166">
                  <c:v>270.2122352721849</c:v>
                </c:pt>
                <c:pt idx="167">
                  <c:v>272.72349552572706</c:v>
                </c:pt>
                <c:pt idx="168">
                  <c:v>275.49797539149893</c:v>
                </c:pt>
                <c:pt idx="169">
                  <c:v>269.53500745712154</c:v>
                </c:pt>
                <c:pt idx="170">
                  <c:v>264.19972035794183</c:v>
                </c:pt>
                <c:pt idx="171">
                  <c:v>266.94582401193139</c:v>
                </c:pt>
                <c:pt idx="172">
                  <c:v>295.63065995525733</c:v>
                </c:pt>
                <c:pt idx="173">
                  <c:v>273.1891648023863</c:v>
                </c:pt>
                <c:pt idx="174">
                  <c:v>274.05210290827745</c:v>
                </c:pt>
                <c:pt idx="175">
                  <c:v>275.38573452647279</c:v>
                </c:pt>
                <c:pt idx="176">
                  <c:v>273.65389261744963</c:v>
                </c:pt>
                <c:pt idx="177">
                  <c:v>267.8341498881432</c:v>
                </c:pt>
                <c:pt idx="178">
                  <c:v>259.06956002982849</c:v>
                </c:pt>
                <c:pt idx="179">
                  <c:v>259.46861856823267</c:v>
                </c:pt>
                <c:pt idx="180">
                  <c:v>268.48734153616704</c:v>
                </c:pt>
                <c:pt idx="181">
                  <c:v>269.34898956002985</c:v>
                </c:pt>
                <c:pt idx="182">
                  <c:v>279.42659955257272</c:v>
                </c:pt>
                <c:pt idx="183">
                  <c:v>273.82217188665174</c:v>
                </c:pt>
                <c:pt idx="184">
                  <c:v>277.06150820283369</c:v>
                </c:pt>
                <c:pt idx="185">
                  <c:v>294.36009321401934</c:v>
                </c:pt>
                <c:pt idx="186">
                  <c:v>277.6391275167785</c:v>
                </c:pt>
                <c:pt idx="187">
                  <c:v>283.08124161073823</c:v>
                </c:pt>
                <c:pt idx="188">
                  <c:v>272.59495152870988</c:v>
                </c:pt>
                <c:pt idx="189">
                  <c:v>271.57497017151377</c:v>
                </c:pt>
                <c:pt idx="190">
                  <c:v>271.60630499627143</c:v>
                </c:pt>
                <c:pt idx="191">
                  <c:v>277.38498881431769</c:v>
                </c:pt>
                <c:pt idx="192">
                  <c:v>270.33062639821026</c:v>
                </c:pt>
                <c:pt idx="193">
                  <c:v>265.35960104399703</c:v>
                </c:pt>
                <c:pt idx="194">
                  <c:v>270.05528150633853</c:v>
                </c:pt>
                <c:pt idx="195">
                  <c:v>267.93631618195377</c:v>
                </c:pt>
                <c:pt idx="196">
                  <c:v>268.66100671140936</c:v>
                </c:pt>
                <c:pt idx="197">
                  <c:v>271.52563012677103</c:v>
                </c:pt>
                <c:pt idx="198">
                  <c:v>261.84473527218495</c:v>
                </c:pt>
                <c:pt idx="199">
                  <c:v>262.443023862789</c:v>
                </c:pt>
                <c:pt idx="200">
                  <c:v>261.59232662192392</c:v>
                </c:pt>
                <c:pt idx="201">
                  <c:v>248.92000000000002</c:v>
                </c:pt>
                <c:pt idx="202">
                  <c:v>244.08595824011931</c:v>
                </c:pt>
                <c:pt idx="203">
                  <c:v>275.81808724832212</c:v>
                </c:pt>
                <c:pt idx="204">
                  <c:v>260.25036353467567</c:v>
                </c:pt>
                <c:pt idx="205">
                  <c:v>264.9769686800895</c:v>
                </c:pt>
                <c:pt idx="206">
                  <c:v>264.04065622669646</c:v>
                </c:pt>
                <c:pt idx="207">
                  <c:v>269.74330350484712</c:v>
                </c:pt>
                <c:pt idx="208">
                  <c:v>267.446577181208</c:v>
                </c:pt>
                <c:pt idx="209">
                  <c:v>263.5203131991052</c:v>
                </c:pt>
                <c:pt idx="210">
                  <c:v>291.40062080536916</c:v>
                </c:pt>
                <c:pt idx="211">
                  <c:v>274.81991051454145</c:v>
                </c:pt>
                <c:pt idx="212">
                  <c:v>278.03715697240864</c:v>
                </c:pt>
                <c:pt idx="213">
                  <c:v>277.12556487695753</c:v>
                </c:pt>
                <c:pt idx="214">
                  <c:v>278.53633668903808</c:v>
                </c:pt>
                <c:pt idx="215">
                  <c:v>282.56955257270693</c:v>
                </c:pt>
                <c:pt idx="216">
                  <c:v>280.56157345264728</c:v>
                </c:pt>
                <c:pt idx="217">
                  <c:v>272.22063571961223</c:v>
                </c:pt>
                <c:pt idx="218">
                  <c:v>270.8091927665921</c:v>
                </c:pt>
                <c:pt idx="219">
                  <c:v>285.44493661446683</c:v>
                </c:pt>
                <c:pt idx="220">
                  <c:v>270.41712527964205</c:v>
                </c:pt>
                <c:pt idx="221">
                  <c:v>269.86823079791202</c:v>
                </c:pt>
                <c:pt idx="222">
                  <c:v>266.43714019388517</c:v>
                </c:pt>
                <c:pt idx="223">
                  <c:v>263.45615212527963</c:v>
                </c:pt>
                <c:pt idx="224">
                  <c:v>270.54494407158836</c:v>
                </c:pt>
                <c:pt idx="225">
                  <c:v>284.22497203579417</c:v>
                </c:pt>
                <c:pt idx="226">
                  <c:v>279.22269388516031</c:v>
                </c:pt>
                <c:pt idx="227">
                  <c:v>290.49636465324386</c:v>
                </c:pt>
                <c:pt idx="228">
                  <c:v>273.60908277404923</c:v>
                </c:pt>
                <c:pt idx="229">
                  <c:v>298.22324384787476</c:v>
                </c:pt>
                <c:pt idx="230">
                  <c:v>301.37392803877697</c:v>
                </c:pt>
                <c:pt idx="231">
                  <c:v>301.7078803131991</c:v>
                </c:pt>
                <c:pt idx="232">
                  <c:v>294.9568232662192</c:v>
                </c:pt>
                <c:pt idx="233">
                  <c:v>300.20046979865776</c:v>
                </c:pt>
                <c:pt idx="234">
                  <c:v>311.36560402684563</c:v>
                </c:pt>
                <c:pt idx="235">
                  <c:v>310.75959731543628</c:v>
                </c:pt>
                <c:pt idx="236">
                  <c:v>315.58521252796425</c:v>
                </c:pt>
                <c:pt idx="237">
                  <c:v>318.76239373601788</c:v>
                </c:pt>
                <c:pt idx="238">
                  <c:v>298.10682326621918</c:v>
                </c:pt>
                <c:pt idx="239">
                  <c:v>319.00959731543617</c:v>
                </c:pt>
                <c:pt idx="240">
                  <c:v>316.92898583146905</c:v>
                </c:pt>
                <c:pt idx="241">
                  <c:v>320.47673005219985</c:v>
                </c:pt>
                <c:pt idx="242">
                  <c:v>306.46711036539898</c:v>
                </c:pt>
                <c:pt idx="243">
                  <c:v>309.24693959731542</c:v>
                </c:pt>
                <c:pt idx="244">
                  <c:v>311.31803519761365</c:v>
                </c:pt>
                <c:pt idx="245">
                  <c:v>308.43108599552568</c:v>
                </c:pt>
                <c:pt idx="246">
                  <c:v>312.5859915764355</c:v>
                </c:pt>
                <c:pt idx="247">
                  <c:v>319.17412465563007</c:v>
                </c:pt>
                <c:pt idx="248">
                  <c:v>319.93270567278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F94-4FB2-A11E-032A436FB8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1442640"/>
        <c:axId val="1227628400"/>
      </c:lineChart>
      <c:dateAx>
        <c:axId val="621442640"/>
        <c:scaling>
          <c:orientation val="minMax"/>
        </c:scaling>
        <c:delete val="0"/>
        <c:axPos val="b"/>
        <c:numFmt formatCode="dd/mm/yy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NG"/>
          </a:p>
        </c:txPr>
        <c:crossAx val="1227628400"/>
        <c:crosses val="autoZero"/>
        <c:auto val="1"/>
        <c:lblOffset val="100"/>
        <c:baseTimeUnit val="days"/>
        <c:majorUnit val="7"/>
        <c:majorTimeUnit val="days"/>
      </c:dateAx>
      <c:valAx>
        <c:axId val="1227628400"/>
        <c:scaling>
          <c:orientation val="minMax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621442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3517864474060485"/>
          <c:y val="9.7954112319780559E-2"/>
          <c:w val="0.43932368976946196"/>
          <c:h val="5.37336854165468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G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0986140371067694E-2"/>
          <c:y val="4.0908498097712909E-2"/>
          <c:w val="0.92003809696641525"/>
          <c:h val="0.83216994703459102"/>
        </c:manualLayout>
      </c:layout>
      <c:lineChart>
        <c:grouping val="standard"/>
        <c:varyColors val="0"/>
        <c:ser>
          <c:idx val="1"/>
          <c:order val="0"/>
          <c:tx>
            <c:strRef>
              <c:f>'Sheet1 (2)'!$C$1</c:f>
              <c:strCache>
                <c:ptCount val="1"/>
                <c:pt idx="0">
                  <c:v>PMS</c:v>
                </c:pt>
              </c:strCache>
            </c:strRef>
          </c:tx>
          <c:spPr>
            <a:ln w="57150" cap="rnd">
              <a:solidFill>
                <a:srgbClr val="3D764D"/>
              </a:solidFill>
              <a:round/>
            </a:ln>
            <a:effectLst/>
          </c:spPr>
          <c:marker>
            <c:symbol val="none"/>
          </c:marker>
          <c:dLbls>
            <c:dLbl>
              <c:idx val="24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8C-450F-BFEC-B598245F9F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highlight>
                      <a:srgbClr val="FFFF00"/>
                    </a:highlight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1 (2)'!$A$2:$A$250</c:f>
              <c:numCache>
                <c:formatCode>dd/mm/yyyy;@</c:formatCode>
                <c:ptCount val="249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4</c:v>
                </c:pt>
                <c:pt idx="6">
                  <c:v>44145</c:v>
                </c:pt>
                <c:pt idx="7">
                  <c:v>44146</c:v>
                </c:pt>
                <c:pt idx="8">
                  <c:v>44147</c:v>
                </c:pt>
                <c:pt idx="9">
                  <c:v>44148</c:v>
                </c:pt>
                <c:pt idx="10">
                  <c:v>44151</c:v>
                </c:pt>
                <c:pt idx="11">
                  <c:v>44152</c:v>
                </c:pt>
                <c:pt idx="12">
                  <c:v>44153</c:v>
                </c:pt>
                <c:pt idx="13">
                  <c:v>44154</c:v>
                </c:pt>
                <c:pt idx="14">
                  <c:v>44155</c:v>
                </c:pt>
                <c:pt idx="15">
                  <c:v>44158</c:v>
                </c:pt>
                <c:pt idx="16">
                  <c:v>44159</c:v>
                </c:pt>
                <c:pt idx="17">
                  <c:v>44160</c:v>
                </c:pt>
                <c:pt idx="18">
                  <c:v>44161</c:v>
                </c:pt>
                <c:pt idx="19">
                  <c:v>44162</c:v>
                </c:pt>
                <c:pt idx="20">
                  <c:v>44165</c:v>
                </c:pt>
                <c:pt idx="21">
                  <c:v>44166</c:v>
                </c:pt>
                <c:pt idx="22">
                  <c:v>44167</c:v>
                </c:pt>
                <c:pt idx="23">
                  <c:v>44168</c:v>
                </c:pt>
                <c:pt idx="24">
                  <c:v>44169</c:v>
                </c:pt>
                <c:pt idx="25">
                  <c:v>44172</c:v>
                </c:pt>
                <c:pt idx="26">
                  <c:v>44173</c:v>
                </c:pt>
                <c:pt idx="27">
                  <c:v>44174</c:v>
                </c:pt>
                <c:pt idx="28">
                  <c:v>44175</c:v>
                </c:pt>
                <c:pt idx="29">
                  <c:v>44176</c:v>
                </c:pt>
                <c:pt idx="30">
                  <c:v>44179</c:v>
                </c:pt>
                <c:pt idx="31">
                  <c:v>44180</c:v>
                </c:pt>
                <c:pt idx="32">
                  <c:v>44181</c:v>
                </c:pt>
                <c:pt idx="33">
                  <c:v>44182</c:v>
                </c:pt>
                <c:pt idx="34">
                  <c:v>44183</c:v>
                </c:pt>
                <c:pt idx="35">
                  <c:v>44186</c:v>
                </c:pt>
                <c:pt idx="36">
                  <c:v>44187</c:v>
                </c:pt>
                <c:pt idx="37">
                  <c:v>44188</c:v>
                </c:pt>
                <c:pt idx="38">
                  <c:v>44189</c:v>
                </c:pt>
                <c:pt idx="39">
                  <c:v>44194</c:v>
                </c:pt>
                <c:pt idx="40">
                  <c:v>44195</c:v>
                </c:pt>
                <c:pt idx="41">
                  <c:v>44196</c:v>
                </c:pt>
                <c:pt idx="42">
                  <c:v>44200</c:v>
                </c:pt>
                <c:pt idx="43">
                  <c:v>44201</c:v>
                </c:pt>
                <c:pt idx="44">
                  <c:v>44202</c:v>
                </c:pt>
                <c:pt idx="45">
                  <c:v>44203</c:v>
                </c:pt>
                <c:pt idx="46">
                  <c:v>44204</c:v>
                </c:pt>
                <c:pt idx="47">
                  <c:v>44207</c:v>
                </c:pt>
                <c:pt idx="48">
                  <c:v>44208</c:v>
                </c:pt>
                <c:pt idx="49">
                  <c:v>44209</c:v>
                </c:pt>
                <c:pt idx="50">
                  <c:v>44210</c:v>
                </c:pt>
                <c:pt idx="51">
                  <c:v>44211</c:v>
                </c:pt>
                <c:pt idx="52">
                  <c:v>44214</c:v>
                </c:pt>
                <c:pt idx="53">
                  <c:v>44215</c:v>
                </c:pt>
                <c:pt idx="54">
                  <c:v>44216</c:v>
                </c:pt>
                <c:pt idx="55">
                  <c:v>44217</c:v>
                </c:pt>
                <c:pt idx="56">
                  <c:v>44218</c:v>
                </c:pt>
                <c:pt idx="57">
                  <c:v>44221</c:v>
                </c:pt>
                <c:pt idx="58">
                  <c:v>44222</c:v>
                </c:pt>
                <c:pt idx="59">
                  <c:v>44223</c:v>
                </c:pt>
                <c:pt idx="60">
                  <c:v>44224</c:v>
                </c:pt>
                <c:pt idx="61">
                  <c:v>44225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5</c:v>
                </c:pt>
                <c:pt idx="68">
                  <c:v>44236</c:v>
                </c:pt>
                <c:pt idx="69">
                  <c:v>44237</c:v>
                </c:pt>
                <c:pt idx="70">
                  <c:v>44238</c:v>
                </c:pt>
                <c:pt idx="71">
                  <c:v>44239</c:v>
                </c:pt>
                <c:pt idx="72">
                  <c:v>44242</c:v>
                </c:pt>
                <c:pt idx="73">
                  <c:v>44243</c:v>
                </c:pt>
                <c:pt idx="74">
                  <c:v>44244</c:v>
                </c:pt>
                <c:pt idx="75">
                  <c:v>44245</c:v>
                </c:pt>
                <c:pt idx="76">
                  <c:v>44246</c:v>
                </c:pt>
                <c:pt idx="77">
                  <c:v>44249</c:v>
                </c:pt>
                <c:pt idx="78">
                  <c:v>44250</c:v>
                </c:pt>
                <c:pt idx="79">
                  <c:v>44251</c:v>
                </c:pt>
                <c:pt idx="80">
                  <c:v>44252</c:v>
                </c:pt>
                <c:pt idx="81">
                  <c:v>44253</c:v>
                </c:pt>
                <c:pt idx="82">
                  <c:v>44256</c:v>
                </c:pt>
                <c:pt idx="83">
                  <c:v>44257</c:v>
                </c:pt>
                <c:pt idx="84">
                  <c:v>44258</c:v>
                </c:pt>
                <c:pt idx="85">
                  <c:v>44259</c:v>
                </c:pt>
                <c:pt idx="86">
                  <c:v>44260</c:v>
                </c:pt>
                <c:pt idx="87">
                  <c:v>44263</c:v>
                </c:pt>
                <c:pt idx="88">
                  <c:v>44264</c:v>
                </c:pt>
                <c:pt idx="89">
                  <c:v>44265</c:v>
                </c:pt>
                <c:pt idx="90">
                  <c:v>44266</c:v>
                </c:pt>
                <c:pt idx="91">
                  <c:v>44267</c:v>
                </c:pt>
                <c:pt idx="92">
                  <c:v>44270</c:v>
                </c:pt>
                <c:pt idx="93">
                  <c:v>44271</c:v>
                </c:pt>
                <c:pt idx="94">
                  <c:v>44272</c:v>
                </c:pt>
                <c:pt idx="95">
                  <c:v>44273</c:v>
                </c:pt>
                <c:pt idx="96">
                  <c:v>44274</c:v>
                </c:pt>
                <c:pt idx="97">
                  <c:v>44277</c:v>
                </c:pt>
                <c:pt idx="98">
                  <c:v>44278</c:v>
                </c:pt>
                <c:pt idx="99">
                  <c:v>44279</c:v>
                </c:pt>
                <c:pt idx="100">
                  <c:v>44280</c:v>
                </c:pt>
                <c:pt idx="101">
                  <c:v>44281</c:v>
                </c:pt>
                <c:pt idx="102">
                  <c:v>44284</c:v>
                </c:pt>
                <c:pt idx="103">
                  <c:v>44285</c:v>
                </c:pt>
                <c:pt idx="104">
                  <c:v>44286</c:v>
                </c:pt>
                <c:pt idx="105">
                  <c:v>44287</c:v>
                </c:pt>
                <c:pt idx="106">
                  <c:v>44292</c:v>
                </c:pt>
                <c:pt idx="107">
                  <c:v>44293</c:v>
                </c:pt>
                <c:pt idx="108">
                  <c:v>44294</c:v>
                </c:pt>
                <c:pt idx="109">
                  <c:v>44295</c:v>
                </c:pt>
                <c:pt idx="110">
                  <c:v>44298</c:v>
                </c:pt>
                <c:pt idx="111">
                  <c:v>44299</c:v>
                </c:pt>
                <c:pt idx="112">
                  <c:v>44300</c:v>
                </c:pt>
                <c:pt idx="113">
                  <c:v>44301</c:v>
                </c:pt>
                <c:pt idx="114">
                  <c:v>44302</c:v>
                </c:pt>
                <c:pt idx="115">
                  <c:v>44305</c:v>
                </c:pt>
                <c:pt idx="116">
                  <c:v>44306</c:v>
                </c:pt>
                <c:pt idx="117">
                  <c:v>44307</c:v>
                </c:pt>
                <c:pt idx="118">
                  <c:v>44308</c:v>
                </c:pt>
                <c:pt idx="119">
                  <c:v>44309</c:v>
                </c:pt>
                <c:pt idx="120">
                  <c:v>44312</c:v>
                </c:pt>
                <c:pt idx="121">
                  <c:v>44313</c:v>
                </c:pt>
                <c:pt idx="122">
                  <c:v>44314</c:v>
                </c:pt>
                <c:pt idx="123">
                  <c:v>44315</c:v>
                </c:pt>
                <c:pt idx="124">
                  <c:v>44316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3</c:v>
                </c:pt>
                <c:pt idx="135">
                  <c:v>44334</c:v>
                </c:pt>
                <c:pt idx="136">
                  <c:v>44335</c:v>
                </c:pt>
                <c:pt idx="137">
                  <c:v>44336</c:v>
                </c:pt>
                <c:pt idx="138">
                  <c:v>44337</c:v>
                </c:pt>
                <c:pt idx="139">
                  <c:v>44340</c:v>
                </c:pt>
                <c:pt idx="140">
                  <c:v>44341</c:v>
                </c:pt>
                <c:pt idx="141">
                  <c:v>44342</c:v>
                </c:pt>
                <c:pt idx="142">
                  <c:v>44343</c:v>
                </c:pt>
                <c:pt idx="143">
                  <c:v>44344</c:v>
                </c:pt>
                <c:pt idx="144">
                  <c:v>44348</c:v>
                </c:pt>
                <c:pt idx="145">
                  <c:v>44349</c:v>
                </c:pt>
                <c:pt idx="146">
                  <c:v>44350</c:v>
                </c:pt>
                <c:pt idx="147">
                  <c:v>44351</c:v>
                </c:pt>
                <c:pt idx="148">
                  <c:v>44354</c:v>
                </c:pt>
                <c:pt idx="149">
                  <c:v>44355</c:v>
                </c:pt>
                <c:pt idx="150">
                  <c:v>44356</c:v>
                </c:pt>
                <c:pt idx="151">
                  <c:v>44357</c:v>
                </c:pt>
                <c:pt idx="152">
                  <c:v>44358</c:v>
                </c:pt>
                <c:pt idx="153">
                  <c:v>44361</c:v>
                </c:pt>
                <c:pt idx="154">
                  <c:v>44362</c:v>
                </c:pt>
                <c:pt idx="155">
                  <c:v>44363</c:v>
                </c:pt>
                <c:pt idx="156">
                  <c:v>44364</c:v>
                </c:pt>
                <c:pt idx="157">
                  <c:v>44365</c:v>
                </c:pt>
                <c:pt idx="158">
                  <c:v>44368</c:v>
                </c:pt>
                <c:pt idx="159">
                  <c:v>44369</c:v>
                </c:pt>
                <c:pt idx="160">
                  <c:v>44370</c:v>
                </c:pt>
                <c:pt idx="161">
                  <c:v>44371</c:v>
                </c:pt>
                <c:pt idx="162">
                  <c:v>44372</c:v>
                </c:pt>
                <c:pt idx="163">
                  <c:v>44375</c:v>
                </c:pt>
                <c:pt idx="164">
                  <c:v>44376</c:v>
                </c:pt>
                <c:pt idx="165">
                  <c:v>44377</c:v>
                </c:pt>
                <c:pt idx="166">
                  <c:v>44378</c:v>
                </c:pt>
                <c:pt idx="167">
                  <c:v>44379</c:v>
                </c:pt>
                <c:pt idx="168">
                  <c:v>44382</c:v>
                </c:pt>
                <c:pt idx="169">
                  <c:v>44383</c:v>
                </c:pt>
                <c:pt idx="170">
                  <c:v>44384</c:v>
                </c:pt>
                <c:pt idx="171">
                  <c:v>44385</c:v>
                </c:pt>
                <c:pt idx="172">
                  <c:v>44386</c:v>
                </c:pt>
                <c:pt idx="173">
                  <c:v>44389</c:v>
                </c:pt>
                <c:pt idx="174">
                  <c:v>44390</c:v>
                </c:pt>
                <c:pt idx="175">
                  <c:v>44391</c:v>
                </c:pt>
                <c:pt idx="176">
                  <c:v>44392</c:v>
                </c:pt>
                <c:pt idx="177">
                  <c:v>44393</c:v>
                </c:pt>
                <c:pt idx="178">
                  <c:v>44396</c:v>
                </c:pt>
                <c:pt idx="179">
                  <c:v>44397</c:v>
                </c:pt>
                <c:pt idx="180">
                  <c:v>44398</c:v>
                </c:pt>
                <c:pt idx="181">
                  <c:v>44399</c:v>
                </c:pt>
                <c:pt idx="182">
                  <c:v>44400</c:v>
                </c:pt>
                <c:pt idx="183">
                  <c:v>44403</c:v>
                </c:pt>
                <c:pt idx="184">
                  <c:v>44404</c:v>
                </c:pt>
                <c:pt idx="185">
                  <c:v>44405</c:v>
                </c:pt>
                <c:pt idx="186">
                  <c:v>44406</c:v>
                </c:pt>
                <c:pt idx="187">
                  <c:v>44407</c:v>
                </c:pt>
                <c:pt idx="188">
                  <c:v>44410</c:v>
                </c:pt>
                <c:pt idx="189">
                  <c:v>44411</c:v>
                </c:pt>
                <c:pt idx="190">
                  <c:v>44412</c:v>
                </c:pt>
                <c:pt idx="191">
                  <c:v>44413</c:v>
                </c:pt>
                <c:pt idx="192" formatCode="m/d/yyyy">
                  <c:v>44414</c:v>
                </c:pt>
                <c:pt idx="193" formatCode="m/d/yyyy">
                  <c:v>44417</c:v>
                </c:pt>
                <c:pt idx="194" formatCode="m/d/yyyy">
                  <c:v>44418</c:v>
                </c:pt>
                <c:pt idx="195" formatCode="m/d/yyyy">
                  <c:v>44419</c:v>
                </c:pt>
                <c:pt idx="196" formatCode="m/d/yyyy">
                  <c:v>44420</c:v>
                </c:pt>
                <c:pt idx="197" formatCode="m/d/yyyy">
                  <c:v>44421</c:v>
                </c:pt>
                <c:pt idx="198" formatCode="m/d/yyyy">
                  <c:v>44424</c:v>
                </c:pt>
                <c:pt idx="199" formatCode="m/d/yyyy">
                  <c:v>44425</c:v>
                </c:pt>
                <c:pt idx="200" formatCode="m/d/yyyy">
                  <c:v>44426</c:v>
                </c:pt>
                <c:pt idx="201" formatCode="m/d/yyyy">
                  <c:v>44427</c:v>
                </c:pt>
                <c:pt idx="202" formatCode="m/d/yyyy">
                  <c:v>44428</c:v>
                </c:pt>
                <c:pt idx="203" formatCode="m/d/yyyy">
                  <c:v>44431</c:v>
                </c:pt>
                <c:pt idx="204" formatCode="m/d/yyyy">
                  <c:v>44432</c:v>
                </c:pt>
                <c:pt idx="205" formatCode="m/d/yyyy">
                  <c:v>44433</c:v>
                </c:pt>
                <c:pt idx="206" formatCode="m/d/yyyy">
                  <c:v>44434</c:v>
                </c:pt>
                <c:pt idx="207" formatCode="m/d/yyyy">
                  <c:v>44435</c:v>
                </c:pt>
                <c:pt idx="208">
                  <c:v>44439</c:v>
                </c:pt>
                <c:pt idx="209">
                  <c:v>44440</c:v>
                </c:pt>
                <c:pt idx="210">
                  <c:v>44441</c:v>
                </c:pt>
                <c:pt idx="211">
                  <c:v>44442</c:v>
                </c:pt>
                <c:pt idx="212" formatCode="m/d/yyyy">
                  <c:v>44445</c:v>
                </c:pt>
                <c:pt idx="213" formatCode="m/d/yyyy">
                  <c:v>44446</c:v>
                </c:pt>
                <c:pt idx="214" formatCode="m/d/yyyy">
                  <c:v>44447</c:v>
                </c:pt>
                <c:pt idx="215" formatCode="m/d/yyyy">
                  <c:v>44448</c:v>
                </c:pt>
                <c:pt idx="216" formatCode="m/d/yyyy">
                  <c:v>44449</c:v>
                </c:pt>
                <c:pt idx="217" formatCode="m/d/yyyy">
                  <c:v>44452</c:v>
                </c:pt>
                <c:pt idx="218" formatCode="m/d/yyyy">
                  <c:v>44453</c:v>
                </c:pt>
                <c:pt idx="219" formatCode="m/d/yyyy">
                  <c:v>44454</c:v>
                </c:pt>
                <c:pt idx="220" formatCode="m/d/yyyy">
                  <c:v>44455</c:v>
                </c:pt>
                <c:pt idx="221" formatCode="m/d/yyyy">
                  <c:v>44456</c:v>
                </c:pt>
                <c:pt idx="222" formatCode="m/d/yyyy">
                  <c:v>44459</c:v>
                </c:pt>
                <c:pt idx="223" formatCode="m/d/yyyy">
                  <c:v>44460</c:v>
                </c:pt>
                <c:pt idx="224" formatCode="m/d/yyyy">
                  <c:v>44461</c:v>
                </c:pt>
                <c:pt idx="225" formatCode="m/d/yyyy">
                  <c:v>44462</c:v>
                </c:pt>
                <c:pt idx="226" formatCode="m/d/yyyy">
                  <c:v>44463</c:v>
                </c:pt>
                <c:pt idx="227" formatCode="m/d/yyyy">
                  <c:v>44466</c:v>
                </c:pt>
                <c:pt idx="228" formatCode="m/d/yyyy">
                  <c:v>44467</c:v>
                </c:pt>
                <c:pt idx="229" formatCode="m/d/yyyy">
                  <c:v>44468</c:v>
                </c:pt>
                <c:pt idx="230" formatCode="m/d/yyyy">
                  <c:v>44469</c:v>
                </c:pt>
                <c:pt idx="231" formatCode="m/d/yyyy">
                  <c:v>44470</c:v>
                </c:pt>
                <c:pt idx="232" formatCode="m/d/yyyy">
                  <c:v>44473</c:v>
                </c:pt>
                <c:pt idx="233" formatCode="m/d/yyyy">
                  <c:v>44474</c:v>
                </c:pt>
                <c:pt idx="234" formatCode="m/d/yyyy">
                  <c:v>44475</c:v>
                </c:pt>
                <c:pt idx="235" formatCode="m/d/yyyy">
                  <c:v>44476</c:v>
                </c:pt>
                <c:pt idx="236" formatCode="m/d/yyyy">
                  <c:v>44477</c:v>
                </c:pt>
                <c:pt idx="237" formatCode="m/d/yyyy">
                  <c:v>44480</c:v>
                </c:pt>
                <c:pt idx="238" formatCode="m/d/yyyy">
                  <c:v>44481</c:v>
                </c:pt>
                <c:pt idx="239" formatCode="m/d/yyyy">
                  <c:v>44482</c:v>
                </c:pt>
                <c:pt idx="240" formatCode="m/d/yyyy">
                  <c:v>44483</c:v>
                </c:pt>
                <c:pt idx="241" formatCode="m/d/yyyy">
                  <c:v>44484</c:v>
                </c:pt>
                <c:pt idx="242" formatCode="m/d/yyyy">
                  <c:v>44487</c:v>
                </c:pt>
                <c:pt idx="243" formatCode="m/d/yyyy">
                  <c:v>44488</c:v>
                </c:pt>
                <c:pt idx="244" formatCode="m/d/yyyy">
                  <c:v>44489</c:v>
                </c:pt>
                <c:pt idx="245" formatCode="m/d/yyyy">
                  <c:v>44490</c:v>
                </c:pt>
                <c:pt idx="246" formatCode="m/d/yyyy">
                  <c:v>44491</c:v>
                </c:pt>
                <c:pt idx="247" formatCode="m/d/yyyy">
                  <c:v>44494</c:v>
                </c:pt>
                <c:pt idx="248" formatCode="m/d/yyyy">
                  <c:v>44495</c:v>
                </c:pt>
              </c:numCache>
            </c:numRef>
          </c:cat>
          <c:val>
            <c:numRef>
              <c:f>'Sheet1 (2)'!$C$2:$C$250</c:f>
              <c:numCache>
                <c:formatCode>_-* #,##0.000_-;\-* #,##0.000_-;_-* "-"???_-;_-@_-</c:formatCode>
                <c:ptCount val="249"/>
                <c:pt idx="0">
                  <c:v>151.09024608501119</c:v>
                </c:pt>
                <c:pt idx="1">
                  <c:v>152.69390007457122</c:v>
                </c:pt>
                <c:pt idx="2">
                  <c:v>155.60963460104398</c:v>
                </c:pt>
                <c:pt idx="3">
                  <c:v>155.31806114839674</c:v>
                </c:pt>
                <c:pt idx="4">
                  <c:v>153.49572706935123</c:v>
                </c:pt>
                <c:pt idx="5">
                  <c:v>161.14953020134229</c:v>
                </c:pt>
                <c:pt idx="6">
                  <c:v>163.11765100671141</c:v>
                </c:pt>
                <c:pt idx="7">
                  <c:v>165.52313199105146</c:v>
                </c:pt>
                <c:pt idx="8">
                  <c:v>162.53450410141687</c:v>
                </c:pt>
                <c:pt idx="9">
                  <c:v>159.10851603281134</c:v>
                </c:pt>
                <c:pt idx="10">
                  <c:v>161.36821029082773</c:v>
                </c:pt>
                <c:pt idx="11">
                  <c:v>159.25430275913499</c:v>
                </c:pt>
                <c:pt idx="12">
                  <c:v>161.65978374347503</c:v>
                </c:pt>
                <c:pt idx="13">
                  <c:v>159.91034302759135</c:v>
                </c:pt>
                <c:pt idx="14">
                  <c:v>162.24293064876957</c:v>
                </c:pt>
                <c:pt idx="15">
                  <c:v>164.50262490678597</c:v>
                </c:pt>
                <c:pt idx="16">
                  <c:v>171.06302759134974</c:v>
                </c:pt>
                <c:pt idx="17">
                  <c:v>170.84434750186429</c:v>
                </c:pt>
                <c:pt idx="18">
                  <c:v>170.69856077554064</c:v>
                </c:pt>
                <c:pt idx="19">
                  <c:v>171.7190678598061</c:v>
                </c:pt>
                <c:pt idx="20">
                  <c:v>168.94912005965696</c:v>
                </c:pt>
                <c:pt idx="21">
                  <c:v>167.9286129753915</c:v>
                </c:pt>
                <c:pt idx="22">
                  <c:v>170.77145413870247</c:v>
                </c:pt>
                <c:pt idx="23">
                  <c:v>171.79196122296793</c:v>
                </c:pt>
                <c:pt idx="24">
                  <c:v>173.39561521252796</c:v>
                </c:pt>
                <c:pt idx="25">
                  <c:v>173.46850857568978</c:v>
                </c:pt>
                <c:pt idx="26">
                  <c:v>173.39561521252796</c:v>
                </c:pt>
                <c:pt idx="27">
                  <c:v>173.03114839671886</c:v>
                </c:pt>
                <c:pt idx="28">
                  <c:v>178.57104399701714</c:v>
                </c:pt>
                <c:pt idx="29">
                  <c:v>176.53002982848619</c:v>
                </c:pt>
                <c:pt idx="30">
                  <c:v>174.56190902311707</c:v>
                </c:pt>
                <c:pt idx="31">
                  <c:v>176.60292319164802</c:v>
                </c:pt>
                <c:pt idx="32">
                  <c:v>178.20657718120805</c:v>
                </c:pt>
                <c:pt idx="33">
                  <c:v>179.81023117076808</c:v>
                </c:pt>
                <c:pt idx="34">
                  <c:v>182.58017897091722</c:v>
                </c:pt>
                <c:pt idx="35">
                  <c:v>178.13368381804622</c:v>
                </c:pt>
                <c:pt idx="36">
                  <c:v>178.20657718120805</c:v>
                </c:pt>
                <c:pt idx="37">
                  <c:v>181.92413870246085</c:v>
                </c:pt>
                <c:pt idx="38">
                  <c:v>180.247591349739</c:v>
                </c:pt>
                <c:pt idx="39">
                  <c:v>181.26809843400449</c:v>
                </c:pt>
                <c:pt idx="40">
                  <c:v>183.60068605518271</c:v>
                </c:pt>
                <c:pt idx="41">
                  <c:v>182.94464578672631</c:v>
                </c:pt>
                <c:pt idx="42">
                  <c:v>183.38200596569723</c:v>
                </c:pt>
                <c:pt idx="43">
                  <c:v>187.68271439224461</c:v>
                </c:pt>
                <c:pt idx="44">
                  <c:v>190.67134228187919</c:v>
                </c:pt>
                <c:pt idx="45">
                  <c:v>191.61895600298286</c:v>
                </c:pt>
                <c:pt idx="46">
                  <c:v>194.97205070842654</c:v>
                </c:pt>
                <c:pt idx="47">
                  <c:v>195.04494407158836</c:v>
                </c:pt>
                <c:pt idx="48">
                  <c:v>198.76250559284117</c:v>
                </c:pt>
                <c:pt idx="49">
                  <c:v>197.52331841909023</c:v>
                </c:pt>
                <c:pt idx="50">
                  <c:v>197.37753169276658</c:v>
                </c:pt>
                <c:pt idx="51">
                  <c:v>196.57570469798657</c:v>
                </c:pt>
                <c:pt idx="52">
                  <c:v>196.21123788217747</c:v>
                </c:pt>
                <c:pt idx="53">
                  <c:v>198.4709321401939</c:v>
                </c:pt>
                <c:pt idx="54">
                  <c:v>198.76250559284117</c:v>
                </c:pt>
                <c:pt idx="55">
                  <c:v>196.42991797166295</c:v>
                </c:pt>
                <c:pt idx="56">
                  <c:v>196.06545115585385</c:v>
                </c:pt>
                <c:pt idx="57">
                  <c:v>195.9196644295302</c:v>
                </c:pt>
                <c:pt idx="58">
                  <c:v>197.15885160328114</c:v>
                </c:pt>
                <c:pt idx="59">
                  <c:v>198.1064653243848</c:v>
                </c:pt>
                <c:pt idx="60">
                  <c:v>197.37753169276658</c:v>
                </c:pt>
                <c:pt idx="61">
                  <c:v>198.54382550335569</c:v>
                </c:pt>
                <c:pt idx="62">
                  <c:v>199.41854586129753</c:v>
                </c:pt>
                <c:pt idx="63">
                  <c:v>204.52108128262492</c:v>
                </c:pt>
                <c:pt idx="64">
                  <c:v>207.21813571961223</c:v>
                </c:pt>
                <c:pt idx="65">
                  <c:v>206.63498881431767</c:v>
                </c:pt>
                <c:pt idx="66">
                  <c:v>209.98808351976137</c:v>
                </c:pt>
                <c:pt idx="67">
                  <c:v>209.84229679343773</c:v>
                </c:pt>
                <c:pt idx="68">
                  <c:v>209.62361670395228</c:v>
                </c:pt>
                <c:pt idx="69">
                  <c:v>210.42544369873229</c:v>
                </c:pt>
                <c:pt idx="70">
                  <c:v>210.20676360924682</c:v>
                </c:pt>
                <c:pt idx="71">
                  <c:v>210.49833706189412</c:v>
                </c:pt>
                <c:pt idx="72">
                  <c:v>216.25691275167785</c:v>
                </c:pt>
                <c:pt idx="73">
                  <c:v>215.09061894108874</c:v>
                </c:pt>
                <c:pt idx="74">
                  <c:v>217.78767337807605</c:v>
                </c:pt>
                <c:pt idx="75">
                  <c:v>221.28655480984341</c:v>
                </c:pt>
                <c:pt idx="76">
                  <c:v>221.79680835197613</c:v>
                </c:pt>
                <c:pt idx="77">
                  <c:v>222.74442207307979</c:v>
                </c:pt>
                <c:pt idx="78">
                  <c:v>225.29568978374348</c:v>
                </c:pt>
                <c:pt idx="79">
                  <c:v>229.96086502609992</c:v>
                </c:pt>
                <c:pt idx="80">
                  <c:v>230.39822520507084</c:v>
                </c:pt>
                <c:pt idx="81">
                  <c:v>229.8879716629381</c:v>
                </c:pt>
                <c:pt idx="82">
                  <c:v>229.96086502609992</c:v>
                </c:pt>
                <c:pt idx="83">
                  <c:v>227.9927442207308</c:v>
                </c:pt>
                <c:pt idx="84">
                  <c:v>227.91985085756897</c:v>
                </c:pt>
                <c:pt idx="85">
                  <c:v>232.58502609992541</c:v>
                </c:pt>
                <c:pt idx="86">
                  <c:v>235.28208053691276</c:v>
                </c:pt>
                <c:pt idx="87">
                  <c:v>234.40736017897092</c:v>
                </c:pt>
                <c:pt idx="88">
                  <c:v>233.45974645786725</c:v>
                </c:pt>
                <c:pt idx="89">
                  <c:v>233.45974645786725</c:v>
                </c:pt>
                <c:pt idx="90">
                  <c:v>240.53040268456377</c:v>
                </c:pt>
                <c:pt idx="91">
                  <c:v>242.06116331096197</c:v>
                </c:pt>
                <c:pt idx="92">
                  <c:v>238.70806860551826</c:v>
                </c:pt>
                <c:pt idx="93">
                  <c:v>236.95862788963461</c:v>
                </c:pt>
                <c:pt idx="94">
                  <c:v>231.27294556301268</c:v>
                </c:pt>
                <c:pt idx="95">
                  <c:v>224.05650260999255</c:v>
                </c:pt>
                <c:pt idx="96">
                  <c:v>220.99498135719611</c:v>
                </c:pt>
                <c:pt idx="97">
                  <c:v>225.36858314690528</c:v>
                </c:pt>
                <c:pt idx="98">
                  <c:v>220.77630126771066</c:v>
                </c:pt>
                <c:pt idx="99">
                  <c:v>227.77406413124532</c:v>
                </c:pt>
                <c:pt idx="100">
                  <c:v>225.95173005219985</c:v>
                </c:pt>
                <c:pt idx="101">
                  <c:v>233.24106636838181</c:v>
                </c:pt>
                <c:pt idx="102">
                  <c:v>232.87659955257271</c:v>
                </c:pt>
                <c:pt idx="103">
                  <c:v>234.69893363161819</c:v>
                </c:pt>
                <c:pt idx="104">
                  <c:v>236.37548098434004</c:v>
                </c:pt>
                <c:pt idx="105">
                  <c:v>232.43923937360179</c:v>
                </c:pt>
                <c:pt idx="106">
                  <c:v>225.58726323639075</c:v>
                </c:pt>
                <c:pt idx="107">
                  <c:v>219.53711409395973</c:v>
                </c:pt>
                <c:pt idx="108">
                  <c:v>222.81731543624161</c:v>
                </c:pt>
                <c:pt idx="109">
                  <c:v>222.52574198359434</c:v>
                </c:pt>
                <c:pt idx="110">
                  <c:v>223.03599552572706</c:v>
                </c:pt>
                <c:pt idx="111">
                  <c:v>224.12939597315437</c:v>
                </c:pt>
                <c:pt idx="112">
                  <c:v>228.43010439970172</c:v>
                </c:pt>
                <c:pt idx="113">
                  <c:v>229.96086502609992</c:v>
                </c:pt>
                <c:pt idx="114">
                  <c:v>230.98137211036538</c:v>
                </c:pt>
                <c:pt idx="115">
                  <c:v>231.7103057419836</c:v>
                </c:pt>
                <c:pt idx="116">
                  <c:v>227.33670395227443</c:v>
                </c:pt>
                <c:pt idx="117">
                  <c:v>227.04513049962713</c:v>
                </c:pt>
                <c:pt idx="118">
                  <c:v>226.1704101416853</c:v>
                </c:pt>
                <c:pt idx="119">
                  <c:v>227.04513049962713</c:v>
                </c:pt>
                <c:pt idx="120">
                  <c:v>226.46198359433259</c:v>
                </c:pt>
                <c:pt idx="121">
                  <c:v>227.33670395227443</c:v>
                </c:pt>
                <c:pt idx="122">
                  <c:v>232.58502609992541</c:v>
                </c:pt>
                <c:pt idx="123">
                  <c:v>234.40736017897092</c:v>
                </c:pt>
                <c:pt idx="124">
                  <c:v>232.00187919463087</c:v>
                </c:pt>
                <c:pt idx="125">
                  <c:v>237.90624161073825</c:v>
                </c:pt>
                <c:pt idx="126">
                  <c:v>250.46389821029084</c:v>
                </c:pt>
                <c:pt idx="127">
                  <c:v>247.6332326621924</c:v>
                </c:pt>
                <c:pt idx="128">
                  <c:v>246.40916107382549</c:v>
                </c:pt>
                <c:pt idx="129">
                  <c:v>246.40916107382549</c:v>
                </c:pt>
                <c:pt idx="130">
                  <c:v>245.873629753915</c:v>
                </c:pt>
                <c:pt idx="131">
                  <c:v>248.01575503355704</c:v>
                </c:pt>
                <c:pt idx="132">
                  <c:v>244.1140268456376</c:v>
                </c:pt>
                <c:pt idx="133">
                  <c:v>242.50743288590604</c:v>
                </c:pt>
                <c:pt idx="134">
                  <c:v>244.87907158836688</c:v>
                </c:pt>
                <c:pt idx="135">
                  <c:v>245.95013422818792</c:v>
                </c:pt>
                <c:pt idx="136">
                  <c:v>237.38163310961968</c:v>
                </c:pt>
                <c:pt idx="137">
                  <c:v>239.82977628635348</c:v>
                </c:pt>
                <c:pt idx="138">
                  <c:v>240.05928970917225</c:v>
                </c:pt>
                <c:pt idx="139">
                  <c:v>243.11946868008948</c:v>
                </c:pt>
                <c:pt idx="140">
                  <c:v>243.11946868008948</c:v>
                </c:pt>
                <c:pt idx="141">
                  <c:v>245.41460290827743</c:v>
                </c:pt>
                <c:pt idx="142">
                  <c:v>247.02119686800896</c:v>
                </c:pt>
                <c:pt idx="143">
                  <c:v>248.62779082774048</c:v>
                </c:pt>
                <c:pt idx="144">
                  <c:v>249.29820656226696</c:v>
                </c:pt>
                <c:pt idx="145">
                  <c:v>250.29484899328858</c:v>
                </c:pt>
                <c:pt idx="146">
                  <c:v>249.06821215510814</c:v>
                </c:pt>
                <c:pt idx="147">
                  <c:v>250.98483221476511</c:v>
                </c:pt>
                <c:pt idx="148">
                  <c:v>249.37487136465325</c:v>
                </c:pt>
                <c:pt idx="149">
                  <c:v>249.37487136465325</c:v>
                </c:pt>
                <c:pt idx="150">
                  <c:v>250.90816741237884</c:v>
                </c:pt>
                <c:pt idx="151">
                  <c:v>251.52148583146908</c:v>
                </c:pt>
                <c:pt idx="152">
                  <c:v>252.21146905294557</c:v>
                </c:pt>
                <c:pt idx="153">
                  <c:v>336.00914988814316</c:v>
                </c:pt>
                <c:pt idx="154">
                  <c:v>335.79662192393732</c:v>
                </c:pt>
                <c:pt idx="155">
                  <c:v>339.94091722595078</c:v>
                </c:pt>
                <c:pt idx="156">
                  <c:v>333.77760626398208</c:v>
                </c:pt>
                <c:pt idx="157">
                  <c:v>335.69035794183446</c:v>
                </c:pt>
                <c:pt idx="158">
                  <c:v>340.15344519015662</c:v>
                </c:pt>
                <c:pt idx="159">
                  <c:v>343.02257270693508</c:v>
                </c:pt>
                <c:pt idx="160">
                  <c:v>349.18588366890378</c:v>
                </c:pt>
                <c:pt idx="161">
                  <c:v>349.50467561521248</c:v>
                </c:pt>
                <c:pt idx="162">
                  <c:v>351.311163310962</c:v>
                </c:pt>
                <c:pt idx="163">
                  <c:v>348.22950782997759</c:v>
                </c:pt>
                <c:pt idx="164">
                  <c:v>350.14225950782998</c:v>
                </c:pt>
                <c:pt idx="165">
                  <c:v>349.61093959731545</c:v>
                </c:pt>
                <c:pt idx="166">
                  <c:v>352.26753914988819</c:v>
                </c:pt>
                <c:pt idx="167">
                  <c:v>355.66798657718118</c:v>
                </c:pt>
                <c:pt idx="168">
                  <c:v>359.49348993288595</c:v>
                </c:pt>
                <c:pt idx="169">
                  <c:v>351.41742729306486</c:v>
                </c:pt>
                <c:pt idx="170">
                  <c:v>344.1914765100671</c:v>
                </c:pt>
                <c:pt idx="171">
                  <c:v>347.9107158836689</c:v>
                </c:pt>
                <c:pt idx="172">
                  <c:v>357.04941834451904</c:v>
                </c:pt>
                <c:pt idx="173">
                  <c:v>356.41183445190154</c:v>
                </c:pt>
                <c:pt idx="174">
                  <c:v>357.58073825503357</c:v>
                </c:pt>
                <c:pt idx="175">
                  <c:v>359.38722595078298</c:v>
                </c:pt>
                <c:pt idx="176">
                  <c:v>354.71161073825499</c:v>
                </c:pt>
                <c:pt idx="177">
                  <c:v>350.56731543624164</c:v>
                </c:pt>
                <c:pt idx="178">
                  <c:v>332.1836465324385</c:v>
                </c:pt>
                <c:pt idx="179">
                  <c:v>332.71496644295303</c:v>
                </c:pt>
                <c:pt idx="180">
                  <c:v>344.72279642058163</c:v>
                </c:pt>
                <c:pt idx="181">
                  <c:v>351.09863534675617</c:v>
                </c:pt>
                <c:pt idx="182">
                  <c:v>357.58073825503357</c:v>
                </c:pt>
                <c:pt idx="183">
                  <c:v>357.1556823266219</c:v>
                </c:pt>
                <c:pt idx="184">
                  <c:v>361.61876957494405</c:v>
                </c:pt>
                <c:pt idx="185">
                  <c:v>358.43085011185678</c:v>
                </c:pt>
                <c:pt idx="186">
                  <c:v>362.36261744966441</c:v>
                </c:pt>
                <c:pt idx="187">
                  <c:v>364.2753691275168</c:v>
                </c:pt>
                <c:pt idx="188">
                  <c:v>355.56172259507832</c:v>
                </c:pt>
                <c:pt idx="189">
                  <c:v>354.18029082774046</c:v>
                </c:pt>
                <c:pt idx="190">
                  <c:v>349.39841163310962</c:v>
                </c:pt>
                <c:pt idx="191">
                  <c:v>357.26194630872487</c:v>
                </c:pt>
                <c:pt idx="192">
                  <c:v>352.48006711409391</c:v>
                </c:pt>
                <c:pt idx="193">
                  <c:v>341.21608501118567</c:v>
                </c:pt>
                <c:pt idx="194">
                  <c:v>352.05501118568236</c:v>
                </c:pt>
                <c:pt idx="195">
                  <c:v>348.44203579418343</c:v>
                </c:pt>
                <c:pt idx="196">
                  <c:v>350.24852348993284</c:v>
                </c:pt>
                <c:pt idx="197">
                  <c:v>348.76082774049212</c:v>
                </c:pt>
                <c:pt idx="198">
                  <c:v>341.10982102908281</c:v>
                </c:pt>
                <c:pt idx="199">
                  <c:v>341.74740492170019</c:v>
                </c:pt>
                <c:pt idx="200">
                  <c:v>337.70937360178971</c:v>
                </c:pt>
                <c:pt idx="201">
                  <c:v>323.47000000000003</c:v>
                </c:pt>
                <c:pt idx="202">
                  <c:v>322.9386800894855</c:v>
                </c:pt>
                <c:pt idx="203">
                  <c:v>332.07738255033553</c:v>
                </c:pt>
                <c:pt idx="204">
                  <c:v>338.87827740492173</c:v>
                </c:pt>
                <c:pt idx="205">
                  <c:v>343.02257270693508</c:v>
                </c:pt>
                <c:pt idx="206">
                  <c:v>341.53487695749436</c:v>
                </c:pt>
                <c:pt idx="207">
                  <c:v>345.04158836689032</c:v>
                </c:pt>
                <c:pt idx="208">
                  <c:v>346.42302013422818</c:v>
                </c:pt>
                <c:pt idx="209">
                  <c:v>343.23510067114091</c:v>
                </c:pt>
                <c:pt idx="210">
                  <c:v>358.85590604026845</c:v>
                </c:pt>
                <c:pt idx="211">
                  <c:v>358.53711409395976</c:v>
                </c:pt>
                <c:pt idx="212">
                  <c:v>362.89393736017894</c:v>
                </c:pt>
                <c:pt idx="213">
                  <c:v>362.04382550335572</c:v>
                </c:pt>
                <c:pt idx="214">
                  <c:v>363.9565771812081</c:v>
                </c:pt>
                <c:pt idx="215">
                  <c:v>362.04382550335572</c:v>
                </c:pt>
                <c:pt idx="216">
                  <c:v>364.16910514541382</c:v>
                </c:pt>
                <c:pt idx="217">
                  <c:v>355.24293064876963</c:v>
                </c:pt>
                <c:pt idx="218">
                  <c:v>353.33017897091725</c:v>
                </c:pt>
                <c:pt idx="219">
                  <c:v>358.74964205816559</c:v>
                </c:pt>
                <c:pt idx="220">
                  <c:v>352.79885906040272</c:v>
                </c:pt>
                <c:pt idx="221">
                  <c:v>352.05501118568236</c:v>
                </c:pt>
                <c:pt idx="222">
                  <c:v>347.2731319910514</c:v>
                </c:pt>
                <c:pt idx="223">
                  <c:v>343.23510067114091</c:v>
                </c:pt>
                <c:pt idx="224">
                  <c:v>346.10422818791949</c:v>
                </c:pt>
                <c:pt idx="225">
                  <c:v>350.77984340044748</c:v>
                </c:pt>
                <c:pt idx="226">
                  <c:v>356.09304250559285</c:v>
                </c:pt>
                <c:pt idx="227">
                  <c:v>358.74964205816559</c:v>
                </c:pt>
                <c:pt idx="228">
                  <c:v>356.83689038031321</c:v>
                </c:pt>
                <c:pt idx="229">
                  <c:v>368.73845637583895</c:v>
                </c:pt>
                <c:pt idx="230">
                  <c:v>373.09527964205813</c:v>
                </c:pt>
                <c:pt idx="231">
                  <c:v>373.5203355704698</c:v>
                </c:pt>
                <c:pt idx="232">
                  <c:v>385.74069351230423</c:v>
                </c:pt>
                <c:pt idx="233">
                  <c:v>392.96664429530199</c:v>
                </c:pt>
                <c:pt idx="234">
                  <c:v>385.63442953020137</c:v>
                </c:pt>
                <c:pt idx="235">
                  <c:v>384.67805369127518</c:v>
                </c:pt>
                <c:pt idx="236">
                  <c:v>395.83577181208057</c:v>
                </c:pt>
                <c:pt idx="237">
                  <c:v>395.4107158836689</c:v>
                </c:pt>
                <c:pt idx="238">
                  <c:v>390.09751677852353</c:v>
                </c:pt>
                <c:pt idx="239">
                  <c:v>396.68588366890378</c:v>
                </c:pt>
                <c:pt idx="240">
                  <c:v>394.34807606263985</c:v>
                </c:pt>
                <c:pt idx="241">
                  <c:v>394.34807606263985</c:v>
                </c:pt>
                <c:pt idx="242">
                  <c:v>394.34807606263985</c:v>
                </c:pt>
                <c:pt idx="243">
                  <c:v>394.34807606263985</c:v>
                </c:pt>
                <c:pt idx="244">
                  <c:v>394.34807606263985</c:v>
                </c:pt>
                <c:pt idx="245">
                  <c:v>394.34807606263985</c:v>
                </c:pt>
                <c:pt idx="246">
                  <c:v>394.34807606263985</c:v>
                </c:pt>
                <c:pt idx="247">
                  <c:v>394.34807606263985</c:v>
                </c:pt>
                <c:pt idx="248">
                  <c:v>394.3480760626398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F1-4C11-801F-9D7506A6B995}"/>
            </c:ext>
          </c:extLst>
        </c:ser>
        <c:ser>
          <c:idx val="2"/>
          <c:order val="1"/>
          <c:tx>
            <c:strRef>
              <c:f>'Sheet1 (2)'!$D$1</c:f>
              <c:strCache>
                <c:ptCount val="1"/>
                <c:pt idx="0">
                  <c:v>Price Cap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7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CF1-4C11-801F-9D7506A6B995}"/>
                </c:ext>
              </c:extLst>
            </c:dLbl>
            <c:spPr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NG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Sheet1 (2)'!$A$2:$A$250</c:f>
              <c:numCache>
                <c:formatCode>dd/mm/yyyy;@</c:formatCode>
                <c:ptCount val="249"/>
                <c:pt idx="0">
                  <c:v>44137</c:v>
                </c:pt>
                <c:pt idx="1">
                  <c:v>44138</c:v>
                </c:pt>
                <c:pt idx="2">
                  <c:v>44139</c:v>
                </c:pt>
                <c:pt idx="3">
                  <c:v>44140</c:v>
                </c:pt>
                <c:pt idx="4">
                  <c:v>44141</c:v>
                </c:pt>
                <c:pt idx="5">
                  <c:v>44144</c:v>
                </c:pt>
                <c:pt idx="6">
                  <c:v>44145</c:v>
                </c:pt>
                <c:pt idx="7">
                  <c:v>44146</c:v>
                </c:pt>
                <c:pt idx="8">
                  <c:v>44147</c:v>
                </c:pt>
                <c:pt idx="9">
                  <c:v>44148</c:v>
                </c:pt>
                <c:pt idx="10">
                  <c:v>44151</c:v>
                </c:pt>
                <c:pt idx="11">
                  <c:v>44152</c:v>
                </c:pt>
                <c:pt idx="12">
                  <c:v>44153</c:v>
                </c:pt>
                <c:pt idx="13">
                  <c:v>44154</c:v>
                </c:pt>
                <c:pt idx="14">
                  <c:v>44155</c:v>
                </c:pt>
                <c:pt idx="15">
                  <c:v>44158</c:v>
                </c:pt>
                <c:pt idx="16">
                  <c:v>44159</c:v>
                </c:pt>
                <c:pt idx="17">
                  <c:v>44160</c:v>
                </c:pt>
                <c:pt idx="18">
                  <c:v>44161</c:v>
                </c:pt>
                <c:pt idx="19">
                  <c:v>44162</c:v>
                </c:pt>
                <c:pt idx="20">
                  <c:v>44165</c:v>
                </c:pt>
                <c:pt idx="21">
                  <c:v>44166</c:v>
                </c:pt>
                <c:pt idx="22">
                  <c:v>44167</c:v>
                </c:pt>
                <c:pt idx="23">
                  <c:v>44168</c:v>
                </c:pt>
                <c:pt idx="24">
                  <c:v>44169</c:v>
                </c:pt>
                <c:pt idx="25">
                  <c:v>44172</c:v>
                </c:pt>
                <c:pt idx="26">
                  <c:v>44173</c:v>
                </c:pt>
                <c:pt idx="27">
                  <c:v>44174</c:v>
                </c:pt>
                <c:pt idx="28">
                  <c:v>44175</c:v>
                </c:pt>
                <c:pt idx="29">
                  <c:v>44176</c:v>
                </c:pt>
                <c:pt idx="30">
                  <c:v>44179</c:v>
                </c:pt>
                <c:pt idx="31">
                  <c:v>44180</c:v>
                </c:pt>
                <c:pt idx="32">
                  <c:v>44181</c:v>
                </c:pt>
                <c:pt idx="33">
                  <c:v>44182</c:v>
                </c:pt>
                <c:pt idx="34">
                  <c:v>44183</c:v>
                </c:pt>
                <c:pt idx="35">
                  <c:v>44186</c:v>
                </c:pt>
                <c:pt idx="36">
                  <c:v>44187</c:v>
                </c:pt>
                <c:pt idx="37">
                  <c:v>44188</c:v>
                </c:pt>
                <c:pt idx="38">
                  <c:v>44189</c:v>
                </c:pt>
                <c:pt idx="39">
                  <c:v>44194</c:v>
                </c:pt>
                <c:pt idx="40">
                  <c:v>44195</c:v>
                </c:pt>
                <c:pt idx="41">
                  <c:v>44196</c:v>
                </c:pt>
                <c:pt idx="42">
                  <c:v>44200</c:v>
                </c:pt>
                <c:pt idx="43">
                  <c:v>44201</c:v>
                </c:pt>
                <c:pt idx="44">
                  <c:v>44202</c:v>
                </c:pt>
                <c:pt idx="45">
                  <c:v>44203</c:v>
                </c:pt>
                <c:pt idx="46">
                  <c:v>44204</c:v>
                </c:pt>
                <c:pt idx="47">
                  <c:v>44207</c:v>
                </c:pt>
                <c:pt idx="48">
                  <c:v>44208</c:v>
                </c:pt>
                <c:pt idx="49">
                  <c:v>44209</c:v>
                </c:pt>
                <c:pt idx="50">
                  <c:v>44210</c:v>
                </c:pt>
                <c:pt idx="51">
                  <c:v>44211</c:v>
                </c:pt>
                <c:pt idx="52">
                  <c:v>44214</c:v>
                </c:pt>
                <c:pt idx="53">
                  <c:v>44215</c:v>
                </c:pt>
                <c:pt idx="54">
                  <c:v>44216</c:v>
                </c:pt>
                <c:pt idx="55">
                  <c:v>44217</c:v>
                </c:pt>
                <c:pt idx="56">
                  <c:v>44218</c:v>
                </c:pt>
                <c:pt idx="57">
                  <c:v>44221</c:v>
                </c:pt>
                <c:pt idx="58">
                  <c:v>44222</c:v>
                </c:pt>
                <c:pt idx="59">
                  <c:v>44223</c:v>
                </c:pt>
                <c:pt idx="60">
                  <c:v>44224</c:v>
                </c:pt>
                <c:pt idx="61">
                  <c:v>44225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5</c:v>
                </c:pt>
                <c:pt idx="68">
                  <c:v>44236</c:v>
                </c:pt>
                <c:pt idx="69">
                  <c:v>44237</c:v>
                </c:pt>
                <c:pt idx="70">
                  <c:v>44238</c:v>
                </c:pt>
                <c:pt idx="71">
                  <c:v>44239</c:v>
                </c:pt>
                <c:pt idx="72">
                  <c:v>44242</c:v>
                </c:pt>
                <c:pt idx="73">
                  <c:v>44243</c:v>
                </c:pt>
                <c:pt idx="74">
                  <c:v>44244</c:v>
                </c:pt>
                <c:pt idx="75">
                  <c:v>44245</c:v>
                </c:pt>
                <c:pt idx="76">
                  <c:v>44246</c:v>
                </c:pt>
                <c:pt idx="77">
                  <c:v>44249</c:v>
                </c:pt>
                <c:pt idx="78">
                  <c:v>44250</c:v>
                </c:pt>
                <c:pt idx="79">
                  <c:v>44251</c:v>
                </c:pt>
                <c:pt idx="80">
                  <c:v>44252</c:v>
                </c:pt>
                <c:pt idx="81">
                  <c:v>44253</c:v>
                </c:pt>
                <c:pt idx="82">
                  <c:v>44256</c:v>
                </c:pt>
                <c:pt idx="83">
                  <c:v>44257</c:v>
                </c:pt>
                <c:pt idx="84">
                  <c:v>44258</c:v>
                </c:pt>
                <c:pt idx="85">
                  <c:v>44259</c:v>
                </c:pt>
                <c:pt idx="86">
                  <c:v>44260</c:v>
                </c:pt>
                <c:pt idx="87">
                  <c:v>44263</c:v>
                </c:pt>
                <c:pt idx="88">
                  <c:v>44264</c:v>
                </c:pt>
                <c:pt idx="89">
                  <c:v>44265</c:v>
                </c:pt>
                <c:pt idx="90">
                  <c:v>44266</c:v>
                </c:pt>
                <c:pt idx="91">
                  <c:v>44267</c:v>
                </c:pt>
                <c:pt idx="92">
                  <c:v>44270</c:v>
                </c:pt>
                <c:pt idx="93">
                  <c:v>44271</c:v>
                </c:pt>
                <c:pt idx="94">
                  <c:v>44272</c:v>
                </c:pt>
                <c:pt idx="95">
                  <c:v>44273</c:v>
                </c:pt>
                <c:pt idx="96">
                  <c:v>44274</c:v>
                </c:pt>
                <c:pt idx="97">
                  <c:v>44277</c:v>
                </c:pt>
                <c:pt idx="98">
                  <c:v>44278</c:v>
                </c:pt>
                <c:pt idx="99">
                  <c:v>44279</c:v>
                </c:pt>
                <c:pt idx="100">
                  <c:v>44280</c:v>
                </c:pt>
                <c:pt idx="101">
                  <c:v>44281</c:v>
                </c:pt>
                <c:pt idx="102">
                  <c:v>44284</c:v>
                </c:pt>
                <c:pt idx="103">
                  <c:v>44285</c:v>
                </c:pt>
                <c:pt idx="104">
                  <c:v>44286</c:v>
                </c:pt>
                <c:pt idx="105">
                  <c:v>44287</c:v>
                </c:pt>
                <c:pt idx="106">
                  <c:v>44292</c:v>
                </c:pt>
                <c:pt idx="107">
                  <c:v>44293</c:v>
                </c:pt>
                <c:pt idx="108">
                  <c:v>44294</c:v>
                </c:pt>
                <c:pt idx="109">
                  <c:v>44295</c:v>
                </c:pt>
                <c:pt idx="110">
                  <c:v>44298</c:v>
                </c:pt>
                <c:pt idx="111">
                  <c:v>44299</c:v>
                </c:pt>
                <c:pt idx="112">
                  <c:v>44300</c:v>
                </c:pt>
                <c:pt idx="113">
                  <c:v>44301</c:v>
                </c:pt>
                <c:pt idx="114">
                  <c:v>44302</c:v>
                </c:pt>
                <c:pt idx="115">
                  <c:v>44305</c:v>
                </c:pt>
                <c:pt idx="116">
                  <c:v>44306</c:v>
                </c:pt>
                <c:pt idx="117">
                  <c:v>44307</c:v>
                </c:pt>
                <c:pt idx="118">
                  <c:v>44308</c:v>
                </c:pt>
                <c:pt idx="119">
                  <c:v>44309</c:v>
                </c:pt>
                <c:pt idx="120">
                  <c:v>44312</c:v>
                </c:pt>
                <c:pt idx="121">
                  <c:v>44313</c:v>
                </c:pt>
                <c:pt idx="122">
                  <c:v>44314</c:v>
                </c:pt>
                <c:pt idx="123">
                  <c:v>44315</c:v>
                </c:pt>
                <c:pt idx="124">
                  <c:v>44316</c:v>
                </c:pt>
                <c:pt idx="125">
                  <c:v>44320</c:v>
                </c:pt>
                <c:pt idx="126">
                  <c:v>44321</c:v>
                </c:pt>
                <c:pt idx="127">
                  <c:v>44322</c:v>
                </c:pt>
                <c:pt idx="128">
                  <c:v>44323</c:v>
                </c:pt>
                <c:pt idx="129">
                  <c:v>44326</c:v>
                </c:pt>
                <c:pt idx="130">
                  <c:v>44327</c:v>
                </c:pt>
                <c:pt idx="131">
                  <c:v>44328</c:v>
                </c:pt>
                <c:pt idx="132">
                  <c:v>44329</c:v>
                </c:pt>
                <c:pt idx="133">
                  <c:v>44330</c:v>
                </c:pt>
                <c:pt idx="134">
                  <c:v>44333</c:v>
                </c:pt>
                <c:pt idx="135">
                  <c:v>44334</c:v>
                </c:pt>
                <c:pt idx="136">
                  <c:v>44335</c:v>
                </c:pt>
                <c:pt idx="137">
                  <c:v>44336</c:v>
                </c:pt>
                <c:pt idx="138">
                  <c:v>44337</c:v>
                </c:pt>
                <c:pt idx="139">
                  <c:v>44340</c:v>
                </c:pt>
                <c:pt idx="140">
                  <c:v>44341</c:v>
                </c:pt>
                <c:pt idx="141">
                  <c:v>44342</c:v>
                </c:pt>
                <c:pt idx="142">
                  <c:v>44343</c:v>
                </c:pt>
                <c:pt idx="143">
                  <c:v>44344</c:v>
                </c:pt>
                <c:pt idx="144">
                  <c:v>44348</c:v>
                </c:pt>
                <c:pt idx="145">
                  <c:v>44349</c:v>
                </c:pt>
                <c:pt idx="146">
                  <c:v>44350</c:v>
                </c:pt>
                <c:pt idx="147">
                  <c:v>44351</c:v>
                </c:pt>
                <c:pt idx="148">
                  <c:v>44354</c:v>
                </c:pt>
                <c:pt idx="149">
                  <c:v>44355</c:v>
                </c:pt>
                <c:pt idx="150">
                  <c:v>44356</c:v>
                </c:pt>
                <c:pt idx="151">
                  <c:v>44357</c:v>
                </c:pt>
                <c:pt idx="152">
                  <c:v>44358</c:v>
                </c:pt>
                <c:pt idx="153">
                  <c:v>44361</c:v>
                </c:pt>
                <c:pt idx="154">
                  <c:v>44362</c:v>
                </c:pt>
                <c:pt idx="155">
                  <c:v>44363</c:v>
                </c:pt>
                <c:pt idx="156">
                  <c:v>44364</c:v>
                </c:pt>
                <c:pt idx="157">
                  <c:v>44365</c:v>
                </c:pt>
                <c:pt idx="158">
                  <c:v>44368</c:v>
                </c:pt>
                <c:pt idx="159">
                  <c:v>44369</c:v>
                </c:pt>
                <c:pt idx="160">
                  <c:v>44370</c:v>
                </c:pt>
                <c:pt idx="161">
                  <c:v>44371</c:v>
                </c:pt>
                <c:pt idx="162">
                  <c:v>44372</c:v>
                </c:pt>
                <c:pt idx="163">
                  <c:v>44375</c:v>
                </c:pt>
                <c:pt idx="164">
                  <c:v>44376</c:v>
                </c:pt>
                <c:pt idx="165">
                  <c:v>44377</c:v>
                </c:pt>
                <c:pt idx="166">
                  <c:v>44378</c:v>
                </c:pt>
                <c:pt idx="167">
                  <c:v>44379</c:v>
                </c:pt>
                <c:pt idx="168">
                  <c:v>44382</c:v>
                </c:pt>
                <c:pt idx="169">
                  <c:v>44383</c:v>
                </c:pt>
                <c:pt idx="170">
                  <c:v>44384</c:v>
                </c:pt>
                <c:pt idx="171">
                  <c:v>44385</c:v>
                </c:pt>
                <c:pt idx="172">
                  <c:v>44386</c:v>
                </c:pt>
                <c:pt idx="173">
                  <c:v>44389</c:v>
                </c:pt>
                <c:pt idx="174">
                  <c:v>44390</c:v>
                </c:pt>
                <c:pt idx="175">
                  <c:v>44391</c:v>
                </c:pt>
                <c:pt idx="176">
                  <c:v>44392</c:v>
                </c:pt>
                <c:pt idx="177">
                  <c:v>44393</c:v>
                </c:pt>
                <c:pt idx="178">
                  <c:v>44396</c:v>
                </c:pt>
                <c:pt idx="179">
                  <c:v>44397</c:v>
                </c:pt>
                <c:pt idx="180">
                  <c:v>44398</c:v>
                </c:pt>
                <c:pt idx="181">
                  <c:v>44399</c:v>
                </c:pt>
                <c:pt idx="182">
                  <c:v>44400</c:v>
                </c:pt>
                <c:pt idx="183">
                  <c:v>44403</c:v>
                </c:pt>
                <c:pt idx="184">
                  <c:v>44404</c:v>
                </c:pt>
                <c:pt idx="185">
                  <c:v>44405</c:v>
                </c:pt>
                <c:pt idx="186">
                  <c:v>44406</c:v>
                </c:pt>
                <c:pt idx="187">
                  <c:v>44407</c:v>
                </c:pt>
                <c:pt idx="188">
                  <c:v>44410</c:v>
                </c:pt>
                <c:pt idx="189">
                  <c:v>44411</c:v>
                </c:pt>
                <c:pt idx="190">
                  <c:v>44412</c:v>
                </c:pt>
                <c:pt idx="191">
                  <c:v>44413</c:v>
                </c:pt>
                <c:pt idx="192" formatCode="m/d/yyyy">
                  <c:v>44414</c:v>
                </c:pt>
                <c:pt idx="193" formatCode="m/d/yyyy">
                  <c:v>44417</c:v>
                </c:pt>
                <c:pt idx="194" formatCode="m/d/yyyy">
                  <c:v>44418</c:v>
                </c:pt>
                <c:pt idx="195" formatCode="m/d/yyyy">
                  <c:v>44419</c:v>
                </c:pt>
                <c:pt idx="196" formatCode="m/d/yyyy">
                  <c:v>44420</c:v>
                </c:pt>
                <c:pt idx="197" formatCode="m/d/yyyy">
                  <c:v>44421</c:v>
                </c:pt>
                <c:pt idx="198" formatCode="m/d/yyyy">
                  <c:v>44424</c:v>
                </c:pt>
                <c:pt idx="199" formatCode="m/d/yyyy">
                  <c:v>44425</c:v>
                </c:pt>
                <c:pt idx="200" formatCode="m/d/yyyy">
                  <c:v>44426</c:v>
                </c:pt>
                <c:pt idx="201" formatCode="m/d/yyyy">
                  <c:v>44427</c:v>
                </c:pt>
                <c:pt idx="202" formatCode="m/d/yyyy">
                  <c:v>44428</c:v>
                </c:pt>
                <c:pt idx="203" formatCode="m/d/yyyy">
                  <c:v>44431</c:v>
                </c:pt>
                <c:pt idx="204" formatCode="m/d/yyyy">
                  <c:v>44432</c:v>
                </c:pt>
                <c:pt idx="205" formatCode="m/d/yyyy">
                  <c:v>44433</c:v>
                </c:pt>
                <c:pt idx="206" formatCode="m/d/yyyy">
                  <c:v>44434</c:v>
                </c:pt>
                <c:pt idx="207" formatCode="m/d/yyyy">
                  <c:v>44435</c:v>
                </c:pt>
                <c:pt idx="208">
                  <c:v>44439</c:v>
                </c:pt>
                <c:pt idx="209">
                  <c:v>44440</c:v>
                </c:pt>
                <c:pt idx="210">
                  <c:v>44441</c:v>
                </c:pt>
                <c:pt idx="211">
                  <c:v>44442</c:v>
                </c:pt>
                <c:pt idx="212" formatCode="m/d/yyyy">
                  <c:v>44445</c:v>
                </c:pt>
                <c:pt idx="213" formatCode="m/d/yyyy">
                  <c:v>44446</c:v>
                </c:pt>
                <c:pt idx="214" formatCode="m/d/yyyy">
                  <c:v>44447</c:v>
                </c:pt>
                <c:pt idx="215" formatCode="m/d/yyyy">
                  <c:v>44448</c:v>
                </c:pt>
                <c:pt idx="216" formatCode="m/d/yyyy">
                  <c:v>44449</c:v>
                </c:pt>
                <c:pt idx="217" formatCode="m/d/yyyy">
                  <c:v>44452</c:v>
                </c:pt>
                <c:pt idx="218" formatCode="m/d/yyyy">
                  <c:v>44453</c:v>
                </c:pt>
                <c:pt idx="219" formatCode="m/d/yyyy">
                  <c:v>44454</c:v>
                </c:pt>
                <c:pt idx="220" formatCode="m/d/yyyy">
                  <c:v>44455</c:v>
                </c:pt>
                <c:pt idx="221" formatCode="m/d/yyyy">
                  <c:v>44456</c:v>
                </c:pt>
                <c:pt idx="222" formatCode="m/d/yyyy">
                  <c:v>44459</c:v>
                </c:pt>
                <c:pt idx="223" formatCode="m/d/yyyy">
                  <c:v>44460</c:v>
                </c:pt>
                <c:pt idx="224" formatCode="m/d/yyyy">
                  <c:v>44461</c:v>
                </c:pt>
                <c:pt idx="225" formatCode="m/d/yyyy">
                  <c:v>44462</c:v>
                </c:pt>
                <c:pt idx="226" formatCode="m/d/yyyy">
                  <c:v>44463</c:v>
                </c:pt>
                <c:pt idx="227" formatCode="m/d/yyyy">
                  <c:v>44466</c:v>
                </c:pt>
                <c:pt idx="228" formatCode="m/d/yyyy">
                  <c:v>44467</c:v>
                </c:pt>
                <c:pt idx="229" formatCode="m/d/yyyy">
                  <c:v>44468</c:v>
                </c:pt>
                <c:pt idx="230" formatCode="m/d/yyyy">
                  <c:v>44469</c:v>
                </c:pt>
                <c:pt idx="231" formatCode="m/d/yyyy">
                  <c:v>44470</c:v>
                </c:pt>
                <c:pt idx="232" formatCode="m/d/yyyy">
                  <c:v>44473</c:v>
                </c:pt>
                <c:pt idx="233" formatCode="m/d/yyyy">
                  <c:v>44474</c:v>
                </c:pt>
                <c:pt idx="234" formatCode="m/d/yyyy">
                  <c:v>44475</c:v>
                </c:pt>
                <c:pt idx="235" formatCode="m/d/yyyy">
                  <c:v>44476</c:v>
                </c:pt>
                <c:pt idx="236" formatCode="m/d/yyyy">
                  <c:v>44477</c:v>
                </c:pt>
                <c:pt idx="237" formatCode="m/d/yyyy">
                  <c:v>44480</c:v>
                </c:pt>
                <c:pt idx="238" formatCode="m/d/yyyy">
                  <c:v>44481</c:v>
                </c:pt>
                <c:pt idx="239" formatCode="m/d/yyyy">
                  <c:v>44482</c:v>
                </c:pt>
                <c:pt idx="240" formatCode="m/d/yyyy">
                  <c:v>44483</c:v>
                </c:pt>
                <c:pt idx="241" formatCode="m/d/yyyy">
                  <c:v>44484</c:v>
                </c:pt>
                <c:pt idx="242" formatCode="m/d/yyyy">
                  <c:v>44487</c:v>
                </c:pt>
                <c:pt idx="243" formatCode="m/d/yyyy">
                  <c:v>44488</c:v>
                </c:pt>
                <c:pt idx="244" formatCode="m/d/yyyy">
                  <c:v>44489</c:v>
                </c:pt>
                <c:pt idx="245" formatCode="m/d/yyyy">
                  <c:v>44490</c:v>
                </c:pt>
                <c:pt idx="246" formatCode="m/d/yyyy">
                  <c:v>44491</c:v>
                </c:pt>
                <c:pt idx="247" formatCode="m/d/yyyy">
                  <c:v>44494</c:v>
                </c:pt>
                <c:pt idx="248" formatCode="m/d/yyyy">
                  <c:v>44495</c:v>
                </c:pt>
              </c:numCache>
            </c:numRef>
          </c:cat>
          <c:val>
            <c:numRef>
              <c:f>'Sheet1 (2)'!$D$2:$D$250</c:f>
              <c:numCache>
                <c:formatCode>General</c:formatCode>
                <c:ptCount val="249"/>
                <c:pt idx="0">
                  <c:v>162</c:v>
                </c:pt>
                <c:pt idx="1">
                  <c:v>162</c:v>
                </c:pt>
                <c:pt idx="2">
                  <c:v>162</c:v>
                </c:pt>
                <c:pt idx="3">
                  <c:v>162</c:v>
                </c:pt>
                <c:pt idx="4">
                  <c:v>162</c:v>
                </c:pt>
                <c:pt idx="5">
                  <c:v>162</c:v>
                </c:pt>
                <c:pt idx="6">
                  <c:v>162</c:v>
                </c:pt>
                <c:pt idx="7">
                  <c:v>162</c:v>
                </c:pt>
                <c:pt idx="8">
                  <c:v>162</c:v>
                </c:pt>
                <c:pt idx="9">
                  <c:v>162</c:v>
                </c:pt>
                <c:pt idx="10">
                  <c:v>162</c:v>
                </c:pt>
                <c:pt idx="11">
                  <c:v>162</c:v>
                </c:pt>
                <c:pt idx="12">
                  <c:v>162</c:v>
                </c:pt>
                <c:pt idx="13">
                  <c:v>162</c:v>
                </c:pt>
                <c:pt idx="14">
                  <c:v>162</c:v>
                </c:pt>
                <c:pt idx="15">
                  <c:v>162</c:v>
                </c:pt>
                <c:pt idx="16">
                  <c:v>162</c:v>
                </c:pt>
                <c:pt idx="17">
                  <c:v>162</c:v>
                </c:pt>
                <c:pt idx="18">
                  <c:v>162</c:v>
                </c:pt>
                <c:pt idx="19">
                  <c:v>162</c:v>
                </c:pt>
                <c:pt idx="20">
                  <c:v>162</c:v>
                </c:pt>
                <c:pt idx="21">
                  <c:v>162</c:v>
                </c:pt>
                <c:pt idx="22">
                  <c:v>162</c:v>
                </c:pt>
                <c:pt idx="23">
                  <c:v>162</c:v>
                </c:pt>
                <c:pt idx="24">
                  <c:v>162</c:v>
                </c:pt>
                <c:pt idx="25">
                  <c:v>162</c:v>
                </c:pt>
                <c:pt idx="26">
                  <c:v>162</c:v>
                </c:pt>
                <c:pt idx="27">
                  <c:v>162</c:v>
                </c:pt>
                <c:pt idx="28">
                  <c:v>162</c:v>
                </c:pt>
                <c:pt idx="29">
                  <c:v>162</c:v>
                </c:pt>
                <c:pt idx="30">
                  <c:v>162</c:v>
                </c:pt>
                <c:pt idx="31">
                  <c:v>162</c:v>
                </c:pt>
                <c:pt idx="32">
                  <c:v>162</c:v>
                </c:pt>
                <c:pt idx="33">
                  <c:v>162</c:v>
                </c:pt>
                <c:pt idx="34">
                  <c:v>162</c:v>
                </c:pt>
                <c:pt idx="35">
                  <c:v>162</c:v>
                </c:pt>
                <c:pt idx="36">
                  <c:v>162</c:v>
                </c:pt>
                <c:pt idx="37">
                  <c:v>162</c:v>
                </c:pt>
                <c:pt idx="38">
                  <c:v>162</c:v>
                </c:pt>
                <c:pt idx="39">
                  <c:v>162</c:v>
                </c:pt>
                <c:pt idx="40">
                  <c:v>162</c:v>
                </c:pt>
                <c:pt idx="41">
                  <c:v>162</c:v>
                </c:pt>
                <c:pt idx="42">
                  <c:v>162</c:v>
                </c:pt>
                <c:pt idx="43">
                  <c:v>162</c:v>
                </c:pt>
                <c:pt idx="44">
                  <c:v>162</c:v>
                </c:pt>
                <c:pt idx="45">
                  <c:v>162</c:v>
                </c:pt>
                <c:pt idx="46">
                  <c:v>162</c:v>
                </c:pt>
                <c:pt idx="47">
                  <c:v>162</c:v>
                </c:pt>
                <c:pt idx="48">
                  <c:v>162</c:v>
                </c:pt>
                <c:pt idx="49">
                  <c:v>162</c:v>
                </c:pt>
                <c:pt idx="50">
                  <c:v>162</c:v>
                </c:pt>
                <c:pt idx="51">
                  <c:v>162</c:v>
                </c:pt>
                <c:pt idx="52">
                  <c:v>162</c:v>
                </c:pt>
                <c:pt idx="53">
                  <c:v>162</c:v>
                </c:pt>
                <c:pt idx="54">
                  <c:v>162</c:v>
                </c:pt>
                <c:pt idx="55">
                  <c:v>162</c:v>
                </c:pt>
                <c:pt idx="56">
                  <c:v>162</c:v>
                </c:pt>
                <c:pt idx="57">
                  <c:v>162</c:v>
                </c:pt>
                <c:pt idx="58">
                  <c:v>162</c:v>
                </c:pt>
                <c:pt idx="59">
                  <c:v>162</c:v>
                </c:pt>
                <c:pt idx="60">
                  <c:v>162</c:v>
                </c:pt>
                <c:pt idx="61">
                  <c:v>162</c:v>
                </c:pt>
                <c:pt idx="62">
                  <c:v>162</c:v>
                </c:pt>
                <c:pt idx="63">
                  <c:v>162</c:v>
                </c:pt>
                <c:pt idx="64">
                  <c:v>162</c:v>
                </c:pt>
                <c:pt idx="65">
                  <c:v>162</c:v>
                </c:pt>
                <c:pt idx="66">
                  <c:v>162</c:v>
                </c:pt>
                <c:pt idx="67">
                  <c:v>162</c:v>
                </c:pt>
                <c:pt idx="68">
                  <c:v>162</c:v>
                </c:pt>
                <c:pt idx="69">
                  <c:v>162</c:v>
                </c:pt>
                <c:pt idx="70">
                  <c:v>162</c:v>
                </c:pt>
                <c:pt idx="71">
                  <c:v>162</c:v>
                </c:pt>
                <c:pt idx="72">
                  <c:v>162</c:v>
                </c:pt>
                <c:pt idx="73">
                  <c:v>162</c:v>
                </c:pt>
                <c:pt idx="74">
                  <c:v>162</c:v>
                </c:pt>
                <c:pt idx="75">
                  <c:v>162</c:v>
                </c:pt>
                <c:pt idx="76">
                  <c:v>162</c:v>
                </c:pt>
                <c:pt idx="77">
                  <c:v>162</c:v>
                </c:pt>
                <c:pt idx="78">
                  <c:v>162</c:v>
                </c:pt>
                <c:pt idx="79">
                  <c:v>162</c:v>
                </c:pt>
                <c:pt idx="80">
                  <c:v>162</c:v>
                </c:pt>
                <c:pt idx="81">
                  <c:v>162</c:v>
                </c:pt>
                <c:pt idx="82">
                  <c:v>162</c:v>
                </c:pt>
                <c:pt idx="83">
                  <c:v>162</c:v>
                </c:pt>
                <c:pt idx="84">
                  <c:v>162</c:v>
                </c:pt>
                <c:pt idx="85">
                  <c:v>162</c:v>
                </c:pt>
                <c:pt idx="86">
                  <c:v>162</c:v>
                </c:pt>
                <c:pt idx="87">
                  <c:v>162</c:v>
                </c:pt>
                <c:pt idx="88">
                  <c:v>162</c:v>
                </c:pt>
                <c:pt idx="89">
                  <c:v>162</c:v>
                </c:pt>
                <c:pt idx="90">
                  <c:v>162</c:v>
                </c:pt>
                <c:pt idx="91">
                  <c:v>162</c:v>
                </c:pt>
                <c:pt idx="92">
                  <c:v>162</c:v>
                </c:pt>
                <c:pt idx="93">
                  <c:v>162</c:v>
                </c:pt>
                <c:pt idx="94">
                  <c:v>162</c:v>
                </c:pt>
                <c:pt idx="95">
                  <c:v>162</c:v>
                </c:pt>
                <c:pt idx="96">
                  <c:v>162</c:v>
                </c:pt>
                <c:pt idx="97">
                  <c:v>162</c:v>
                </c:pt>
                <c:pt idx="98">
                  <c:v>162</c:v>
                </c:pt>
                <c:pt idx="99">
                  <c:v>162</c:v>
                </c:pt>
                <c:pt idx="100">
                  <c:v>162</c:v>
                </c:pt>
                <c:pt idx="101">
                  <c:v>162</c:v>
                </c:pt>
                <c:pt idx="102">
                  <c:v>162</c:v>
                </c:pt>
                <c:pt idx="103">
                  <c:v>162</c:v>
                </c:pt>
                <c:pt idx="104">
                  <c:v>162</c:v>
                </c:pt>
                <c:pt idx="105">
                  <c:v>162</c:v>
                </c:pt>
                <c:pt idx="106">
                  <c:v>162</c:v>
                </c:pt>
                <c:pt idx="107">
                  <c:v>162</c:v>
                </c:pt>
                <c:pt idx="108">
                  <c:v>162</c:v>
                </c:pt>
                <c:pt idx="109">
                  <c:v>162</c:v>
                </c:pt>
                <c:pt idx="110">
                  <c:v>162</c:v>
                </c:pt>
                <c:pt idx="111">
                  <c:v>162</c:v>
                </c:pt>
                <c:pt idx="112">
                  <c:v>162</c:v>
                </c:pt>
                <c:pt idx="113">
                  <c:v>162</c:v>
                </c:pt>
                <c:pt idx="114">
                  <c:v>162</c:v>
                </c:pt>
                <c:pt idx="115">
                  <c:v>162</c:v>
                </c:pt>
                <c:pt idx="116">
                  <c:v>162</c:v>
                </c:pt>
                <c:pt idx="117">
                  <c:v>162</c:v>
                </c:pt>
                <c:pt idx="118">
                  <c:v>162</c:v>
                </c:pt>
                <c:pt idx="119">
                  <c:v>162</c:v>
                </c:pt>
                <c:pt idx="120">
                  <c:v>162</c:v>
                </c:pt>
                <c:pt idx="121">
                  <c:v>162</c:v>
                </c:pt>
                <c:pt idx="122">
                  <c:v>162</c:v>
                </c:pt>
                <c:pt idx="123">
                  <c:v>162</c:v>
                </c:pt>
                <c:pt idx="124">
                  <c:v>162</c:v>
                </c:pt>
                <c:pt idx="125">
                  <c:v>162</c:v>
                </c:pt>
                <c:pt idx="126">
                  <c:v>162</c:v>
                </c:pt>
                <c:pt idx="127">
                  <c:v>162</c:v>
                </c:pt>
                <c:pt idx="128">
                  <c:v>162</c:v>
                </c:pt>
                <c:pt idx="129">
                  <c:v>162</c:v>
                </c:pt>
                <c:pt idx="130">
                  <c:v>162</c:v>
                </c:pt>
                <c:pt idx="131">
                  <c:v>162</c:v>
                </c:pt>
                <c:pt idx="132">
                  <c:v>162</c:v>
                </c:pt>
                <c:pt idx="133">
                  <c:v>162</c:v>
                </c:pt>
                <c:pt idx="134">
                  <c:v>162</c:v>
                </c:pt>
                <c:pt idx="135">
                  <c:v>162</c:v>
                </c:pt>
                <c:pt idx="136">
                  <c:v>162</c:v>
                </c:pt>
                <c:pt idx="137">
                  <c:v>162</c:v>
                </c:pt>
                <c:pt idx="138">
                  <c:v>162</c:v>
                </c:pt>
                <c:pt idx="139">
                  <c:v>162</c:v>
                </c:pt>
                <c:pt idx="140">
                  <c:v>162</c:v>
                </c:pt>
                <c:pt idx="141">
                  <c:v>162</c:v>
                </c:pt>
                <c:pt idx="142">
                  <c:v>162</c:v>
                </c:pt>
                <c:pt idx="143">
                  <c:v>162</c:v>
                </c:pt>
                <c:pt idx="144">
                  <c:v>162</c:v>
                </c:pt>
                <c:pt idx="145">
                  <c:v>162</c:v>
                </c:pt>
                <c:pt idx="146">
                  <c:v>162</c:v>
                </c:pt>
                <c:pt idx="147">
                  <c:v>162</c:v>
                </c:pt>
                <c:pt idx="148">
                  <c:v>162</c:v>
                </c:pt>
                <c:pt idx="149">
                  <c:v>162</c:v>
                </c:pt>
                <c:pt idx="150">
                  <c:v>162</c:v>
                </c:pt>
                <c:pt idx="151">
                  <c:v>162</c:v>
                </c:pt>
                <c:pt idx="152">
                  <c:v>162</c:v>
                </c:pt>
                <c:pt idx="153">
                  <c:v>162</c:v>
                </c:pt>
                <c:pt idx="154">
                  <c:v>162</c:v>
                </c:pt>
                <c:pt idx="155">
                  <c:v>162</c:v>
                </c:pt>
                <c:pt idx="156">
                  <c:v>162</c:v>
                </c:pt>
                <c:pt idx="157">
                  <c:v>162</c:v>
                </c:pt>
                <c:pt idx="158">
                  <c:v>162</c:v>
                </c:pt>
                <c:pt idx="159">
                  <c:v>162</c:v>
                </c:pt>
                <c:pt idx="160">
                  <c:v>162</c:v>
                </c:pt>
                <c:pt idx="161">
                  <c:v>162</c:v>
                </c:pt>
                <c:pt idx="162">
                  <c:v>162</c:v>
                </c:pt>
                <c:pt idx="163">
                  <c:v>162</c:v>
                </c:pt>
                <c:pt idx="164">
                  <c:v>162</c:v>
                </c:pt>
                <c:pt idx="165">
                  <c:v>162</c:v>
                </c:pt>
                <c:pt idx="166">
                  <c:v>162</c:v>
                </c:pt>
                <c:pt idx="167">
                  <c:v>162</c:v>
                </c:pt>
                <c:pt idx="168">
                  <c:v>162</c:v>
                </c:pt>
                <c:pt idx="169">
                  <c:v>162</c:v>
                </c:pt>
                <c:pt idx="170">
                  <c:v>162</c:v>
                </c:pt>
                <c:pt idx="171">
                  <c:v>162</c:v>
                </c:pt>
                <c:pt idx="172">
                  <c:v>162</c:v>
                </c:pt>
                <c:pt idx="173">
                  <c:v>162</c:v>
                </c:pt>
                <c:pt idx="174">
                  <c:v>162</c:v>
                </c:pt>
                <c:pt idx="175">
                  <c:v>162</c:v>
                </c:pt>
                <c:pt idx="176">
                  <c:v>162</c:v>
                </c:pt>
                <c:pt idx="177">
                  <c:v>162</c:v>
                </c:pt>
                <c:pt idx="178">
                  <c:v>162</c:v>
                </c:pt>
                <c:pt idx="179">
                  <c:v>162</c:v>
                </c:pt>
                <c:pt idx="180">
                  <c:v>162</c:v>
                </c:pt>
                <c:pt idx="181">
                  <c:v>162</c:v>
                </c:pt>
                <c:pt idx="182">
                  <c:v>162</c:v>
                </c:pt>
                <c:pt idx="183">
                  <c:v>162</c:v>
                </c:pt>
                <c:pt idx="184">
                  <c:v>162</c:v>
                </c:pt>
                <c:pt idx="185">
                  <c:v>162</c:v>
                </c:pt>
                <c:pt idx="186">
                  <c:v>162</c:v>
                </c:pt>
                <c:pt idx="187">
                  <c:v>162</c:v>
                </c:pt>
                <c:pt idx="188">
                  <c:v>162</c:v>
                </c:pt>
                <c:pt idx="189">
                  <c:v>162</c:v>
                </c:pt>
                <c:pt idx="190">
                  <c:v>162</c:v>
                </c:pt>
                <c:pt idx="191">
                  <c:v>162</c:v>
                </c:pt>
                <c:pt idx="192">
                  <c:v>162</c:v>
                </c:pt>
                <c:pt idx="193">
                  <c:v>162</c:v>
                </c:pt>
                <c:pt idx="194">
                  <c:v>162</c:v>
                </c:pt>
                <c:pt idx="195">
                  <c:v>162</c:v>
                </c:pt>
                <c:pt idx="196">
                  <c:v>162</c:v>
                </c:pt>
                <c:pt idx="197">
                  <c:v>162</c:v>
                </c:pt>
                <c:pt idx="198">
                  <c:v>162</c:v>
                </c:pt>
                <c:pt idx="199">
                  <c:v>162</c:v>
                </c:pt>
                <c:pt idx="200">
                  <c:v>162</c:v>
                </c:pt>
                <c:pt idx="201">
                  <c:v>162</c:v>
                </c:pt>
                <c:pt idx="202">
                  <c:v>162</c:v>
                </c:pt>
                <c:pt idx="203">
                  <c:v>162</c:v>
                </c:pt>
                <c:pt idx="204">
                  <c:v>162</c:v>
                </c:pt>
                <c:pt idx="205">
                  <c:v>162</c:v>
                </c:pt>
                <c:pt idx="206">
                  <c:v>162</c:v>
                </c:pt>
                <c:pt idx="207">
                  <c:v>162</c:v>
                </c:pt>
                <c:pt idx="208">
                  <c:v>162</c:v>
                </c:pt>
                <c:pt idx="209">
                  <c:v>162</c:v>
                </c:pt>
                <c:pt idx="210">
                  <c:v>162</c:v>
                </c:pt>
                <c:pt idx="211">
                  <c:v>162</c:v>
                </c:pt>
                <c:pt idx="212">
                  <c:v>162</c:v>
                </c:pt>
                <c:pt idx="213">
                  <c:v>162</c:v>
                </c:pt>
                <c:pt idx="214">
                  <c:v>162</c:v>
                </c:pt>
                <c:pt idx="215">
                  <c:v>162</c:v>
                </c:pt>
                <c:pt idx="216">
                  <c:v>162</c:v>
                </c:pt>
                <c:pt idx="217">
                  <c:v>162</c:v>
                </c:pt>
                <c:pt idx="218">
                  <c:v>162</c:v>
                </c:pt>
                <c:pt idx="219">
                  <c:v>162</c:v>
                </c:pt>
                <c:pt idx="220">
                  <c:v>162</c:v>
                </c:pt>
                <c:pt idx="221">
                  <c:v>162</c:v>
                </c:pt>
                <c:pt idx="222">
                  <c:v>162</c:v>
                </c:pt>
                <c:pt idx="223">
                  <c:v>162</c:v>
                </c:pt>
                <c:pt idx="224">
                  <c:v>162</c:v>
                </c:pt>
                <c:pt idx="225">
                  <c:v>162</c:v>
                </c:pt>
                <c:pt idx="226">
                  <c:v>162</c:v>
                </c:pt>
                <c:pt idx="227">
                  <c:v>162</c:v>
                </c:pt>
                <c:pt idx="228">
                  <c:v>162</c:v>
                </c:pt>
                <c:pt idx="229">
                  <c:v>162</c:v>
                </c:pt>
                <c:pt idx="230">
                  <c:v>162</c:v>
                </c:pt>
                <c:pt idx="231">
                  <c:v>162</c:v>
                </c:pt>
                <c:pt idx="232">
                  <c:v>162</c:v>
                </c:pt>
                <c:pt idx="233">
                  <c:v>162</c:v>
                </c:pt>
                <c:pt idx="234">
                  <c:v>162</c:v>
                </c:pt>
                <c:pt idx="235">
                  <c:v>162</c:v>
                </c:pt>
                <c:pt idx="236">
                  <c:v>162</c:v>
                </c:pt>
                <c:pt idx="237">
                  <c:v>162</c:v>
                </c:pt>
                <c:pt idx="238">
                  <c:v>162</c:v>
                </c:pt>
                <c:pt idx="239">
                  <c:v>162</c:v>
                </c:pt>
                <c:pt idx="240">
                  <c:v>163</c:v>
                </c:pt>
                <c:pt idx="241">
                  <c:v>163</c:v>
                </c:pt>
                <c:pt idx="242">
                  <c:v>163</c:v>
                </c:pt>
                <c:pt idx="243">
                  <c:v>163</c:v>
                </c:pt>
                <c:pt idx="244">
                  <c:v>163</c:v>
                </c:pt>
                <c:pt idx="245">
                  <c:v>163</c:v>
                </c:pt>
                <c:pt idx="246">
                  <c:v>163</c:v>
                </c:pt>
                <c:pt idx="247">
                  <c:v>163</c:v>
                </c:pt>
                <c:pt idx="248">
                  <c:v>1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CF1-4C11-801F-9D7506A6B9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21442640"/>
        <c:axId val="1227628400"/>
      </c:lineChart>
      <c:dateAx>
        <c:axId val="621442640"/>
        <c:scaling>
          <c:orientation val="minMax"/>
        </c:scaling>
        <c:delete val="0"/>
        <c:axPos val="b"/>
        <c:numFmt formatCode="dd/mm/yyyy;@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NG"/>
          </a:p>
        </c:txPr>
        <c:crossAx val="1227628400"/>
        <c:crosses val="autoZero"/>
        <c:auto val="1"/>
        <c:lblOffset val="100"/>
        <c:baseTimeUnit val="days"/>
        <c:majorUnit val="7"/>
        <c:majorTimeUnit val="days"/>
      </c:dateAx>
      <c:valAx>
        <c:axId val="1227628400"/>
        <c:scaling>
          <c:orientation val="minMax"/>
          <c:min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_);_(@_)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NG"/>
          </a:p>
        </c:txPr>
        <c:crossAx val="6214426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3517864474060485"/>
          <c:y val="9.7954112319780559E-2"/>
          <c:w val="0.27649636028506147"/>
          <c:h val="5.37336854165468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NG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NG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2A1B8A-CACE-4957-A487-BD5C3D845582}" type="datetimeFigureOut">
              <a:rPr lang="en-US" smtClean="0"/>
              <a:t>10/29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2C0A6-AF6B-4C5A-B3D5-0E50A0F7C02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6484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109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DA61EF-0AC3-4F89-844E-660B2930734B}" type="slidenum">
              <a:rPr kumimoji="0" lang="en-NG" sz="17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109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NG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8341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DA61EF-0AC3-4F89-844E-660B2930734B}" type="slidenum">
              <a:rPr kumimoji="0" lang="en-NG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NG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6403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89801" y="9095800"/>
            <a:ext cx="8311993" cy="44861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05769" y="16278436"/>
            <a:ext cx="774046" cy="314819"/>
          </a:xfrm>
        </p:spPr>
        <p:txBody>
          <a:bodyPr/>
          <a:lstStyle/>
          <a:p>
            <a:pPr marL="0" marR="0" lvl="0" indent="0" algn="r" defTabSz="13345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087BFE-4C5D-476F-8EEC-C2BCF62967EE}" type="slidenum"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anose="020B0600070205080204" pitchFamily="34" charset="-128"/>
                <a:cs typeface="+mn-cs"/>
              </a:rPr>
              <a:pPr marL="0" marR="0" lvl="0" indent="0" algn="r" defTabSz="13345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4548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89801" y="9095800"/>
            <a:ext cx="8311993" cy="44861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05769" y="16278436"/>
            <a:ext cx="774046" cy="314819"/>
          </a:xfrm>
        </p:spPr>
        <p:txBody>
          <a:bodyPr/>
          <a:lstStyle/>
          <a:p>
            <a:pPr marL="0" marR="0" lvl="0" indent="0" algn="r" defTabSz="13345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B087BFE-4C5D-476F-8EEC-C2BCF62967EE}" type="slidenum"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anose="020B0600070205080204" pitchFamily="34" charset="-128"/>
                <a:cs typeface="+mn-cs"/>
              </a:rPr>
              <a:pPr marL="0" marR="0" lvl="0" indent="0" algn="r" defTabSz="13345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5085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>
            <a:extLst>
              <a:ext uri="{FF2B5EF4-FFF2-40B4-BE49-F238E27FC236}">
                <a16:creationId xmlns:a16="http://schemas.microsoft.com/office/drawing/2014/main" id="{852AC673-B02C-447D-9A24-7044ABFFE3D2}"/>
              </a:ext>
            </a:extLst>
          </p:cNvPr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19150" y="488950"/>
            <a:ext cx="3268663" cy="24511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8371" name="Notes Placeholder 2">
            <a:extLst>
              <a:ext uri="{FF2B5EF4-FFF2-40B4-BE49-F238E27FC236}">
                <a16:creationId xmlns:a16="http://schemas.microsoft.com/office/drawing/2014/main" id="{3059B0E2-5073-4B06-9358-9B351CF97EB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F425A2-15A0-4136-925A-BE900411543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139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8AD2CD6-79EC-4CA8-BA84-9133813EA3D7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Arial" panose="020B0604020202020204" pitchFamily="34" charset="0"/>
              </a:rPr>
              <a:pPr marL="0" marR="0" lvl="0" indent="0" algn="r" defTabSz="6139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3063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D9E18F-2063-47CA-A744-71FCAB4679C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34" charset="-128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94575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>
            <a:extLst>
              <a:ext uri="{FF2B5EF4-FFF2-40B4-BE49-F238E27FC236}">
                <a16:creationId xmlns:a16="http://schemas.microsoft.com/office/drawing/2014/main" id="{9042A228-B8B5-452E-845C-763C0D30C42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7" name="Rectangle 3">
            <a:extLst>
              <a:ext uri="{FF2B5EF4-FFF2-40B4-BE49-F238E27FC236}">
                <a16:creationId xmlns:a16="http://schemas.microsoft.com/office/drawing/2014/main" id="{4DF17C7F-0EF8-4B41-8480-47F15188E11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64900" y="5432946"/>
            <a:ext cx="5933803" cy="26888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5.jpeg"/><Relationship Id="rId2" Type="http://schemas.openxmlformats.org/officeDocument/2006/relationships/tags" Target="../tags/tag1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7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18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15.xml"/><Relationship Id="rId7" Type="http://schemas.openxmlformats.org/officeDocument/2006/relationships/image" Target="../media/image17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1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18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.jpeg"/><Relationship Id="rId2" Type="http://schemas.openxmlformats.org/officeDocument/2006/relationships/tags" Target="../tags/tag13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7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40.xml"/><Relationship Id="rId7" Type="http://schemas.openxmlformats.org/officeDocument/2006/relationships/image" Target="../media/image17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4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image" Target="../media/image20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46.xml"/><Relationship Id="rId11" Type="http://schemas.openxmlformats.org/officeDocument/2006/relationships/image" Target="../media/image17.emf"/><Relationship Id="rId5" Type="http://schemas.openxmlformats.org/officeDocument/2006/relationships/tags" Target="../tags/tag145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44.xml"/><Relationship Id="rId9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image" Target="../media/image20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4.emf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8.png"/><Relationship Id="rId2" Type="http://schemas.openxmlformats.org/officeDocument/2006/relationships/tags" Target="../tags/tag20.xml"/><Relationship Id="rId16" Type="http://schemas.openxmlformats.org/officeDocument/2006/relationships/image" Target="../media/image7.jpeg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3.xml"/><Relationship Id="rId15" Type="http://schemas.openxmlformats.org/officeDocument/2006/relationships/image" Target="../media/image6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5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oleObject" Target="../embeddings/oleObject17.bin"/><Relationship Id="rId18" Type="http://schemas.openxmlformats.org/officeDocument/2006/relationships/image" Target="../media/image7.jpeg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slideMaster" Target="../slideMasters/slideMaster7.xml"/><Relationship Id="rId17" Type="http://schemas.openxmlformats.org/officeDocument/2006/relationships/image" Target="../media/image23.jpeg"/><Relationship Id="rId2" Type="http://schemas.openxmlformats.org/officeDocument/2006/relationships/tags" Target="../tags/tag171.xml"/><Relationship Id="rId16" Type="http://schemas.openxmlformats.org/officeDocument/2006/relationships/image" Target="../media/image22.jpeg"/><Relationship Id="rId1" Type="http://schemas.openxmlformats.org/officeDocument/2006/relationships/vmlDrawing" Target="../drawings/vmlDrawing17.vml"/><Relationship Id="rId6" Type="http://schemas.openxmlformats.org/officeDocument/2006/relationships/tags" Target="../tags/tag175.xml"/><Relationship Id="rId11" Type="http://schemas.openxmlformats.org/officeDocument/2006/relationships/tags" Target="../tags/tag180.xml"/><Relationship Id="rId5" Type="http://schemas.openxmlformats.org/officeDocument/2006/relationships/tags" Target="../tags/tag174.xml"/><Relationship Id="rId15" Type="http://schemas.openxmlformats.org/officeDocument/2006/relationships/image" Target="../media/image8.png"/><Relationship Id="rId10" Type="http://schemas.openxmlformats.org/officeDocument/2006/relationships/tags" Target="../tags/tag179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22.jpeg"/><Relationship Id="rId2" Type="http://schemas.openxmlformats.org/officeDocument/2006/relationships/tags" Target="../tags/tag20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7.jpe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jpeg"/><Relationship Id="rId2" Type="http://schemas.openxmlformats.org/officeDocument/2006/relationships/tags" Target="../tags/tag2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8.png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13" Type="http://schemas.openxmlformats.org/officeDocument/2006/relationships/tags" Target="../tags/tag234.xml"/><Relationship Id="rId18" Type="http://schemas.openxmlformats.org/officeDocument/2006/relationships/tags" Target="../tags/tag239.xml"/><Relationship Id="rId26" Type="http://schemas.openxmlformats.org/officeDocument/2006/relationships/image" Target="../media/image24.png"/><Relationship Id="rId3" Type="http://schemas.openxmlformats.org/officeDocument/2006/relationships/tags" Target="../tags/tag224.xml"/><Relationship Id="rId21" Type="http://schemas.openxmlformats.org/officeDocument/2006/relationships/tags" Target="../tags/tag242.xml"/><Relationship Id="rId7" Type="http://schemas.openxmlformats.org/officeDocument/2006/relationships/tags" Target="../tags/tag228.xml"/><Relationship Id="rId12" Type="http://schemas.openxmlformats.org/officeDocument/2006/relationships/tags" Target="../tags/tag233.xml"/><Relationship Id="rId17" Type="http://schemas.openxmlformats.org/officeDocument/2006/relationships/tags" Target="../tags/tag238.xml"/><Relationship Id="rId25" Type="http://schemas.openxmlformats.org/officeDocument/2006/relationships/image" Target="../media/image3.emf"/><Relationship Id="rId2" Type="http://schemas.openxmlformats.org/officeDocument/2006/relationships/tags" Target="../tags/tag223.xml"/><Relationship Id="rId16" Type="http://schemas.openxmlformats.org/officeDocument/2006/relationships/tags" Target="../tags/tag237.xml"/><Relationship Id="rId20" Type="http://schemas.openxmlformats.org/officeDocument/2006/relationships/tags" Target="../tags/tag241.xml"/><Relationship Id="rId29" Type="http://schemas.openxmlformats.org/officeDocument/2006/relationships/image" Target="../media/image26.emf"/><Relationship Id="rId1" Type="http://schemas.openxmlformats.org/officeDocument/2006/relationships/vmlDrawing" Target="../drawings/vmlDrawing22.vml"/><Relationship Id="rId6" Type="http://schemas.openxmlformats.org/officeDocument/2006/relationships/tags" Target="../tags/tag227.xml"/><Relationship Id="rId11" Type="http://schemas.openxmlformats.org/officeDocument/2006/relationships/tags" Target="../tags/tag232.xml"/><Relationship Id="rId24" Type="http://schemas.openxmlformats.org/officeDocument/2006/relationships/oleObject" Target="../embeddings/oleObject22.bin"/><Relationship Id="rId5" Type="http://schemas.openxmlformats.org/officeDocument/2006/relationships/tags" Target="../tags/tag226.xml"/><Relationship Id="rId15" Type="http://schemas.openxmlformats.org/officeDocument/2006/relationships/tags" Target="../tags/tag236.xml"/><Relationship Id="rId23" Type="http://schemas.openxmlformats.org/officeDocument/2006/relationships/slideMaster" Target="../slideMasters/slideMaster10.xml"/><Relationship Id="rId28" Type="http://schemas.openxmlformats.org/officeDocument/2006/relationships/oleObject" Target="../embeddings/oleObject23.bin"/><Relationship Id="rId10" Type="http://schemas.openxmlformats.org/officeDocument/2006/relationships/tags" Target="../tags/tag231.xml"/><Relationship Id="rId19" Type="http://schemas.openxmlformats.org/officeDocument/2006/relationships/tags" Target="../tags/tag240.xml"/><Relationship Id="rId4" Type="http://schemas.openxmlformats.org/officeDocument/2006/relationships/tags" Target="../tags/tag225.xml"/><Relationship Id="rId9" Type="http://schemas.openxmlformats.org/officeDocument/2006/relationships/tags" Target="../tags/tag230.xml"/><Relationship Id="rId14" Type="http://schemas.openxmlformats.org/officeDocument/2006/relationships/tags" Target="../tags/tag235.xml"/><Relationship Id="rId22" Type="http://schemas.openxmlformats.org/officeDocument/2006/relationships/tags" Target="../tags/tag243.xml"/><Relationship Id="rId27" Type="http://schemas.openxmlformats.org/officeDocument/2006/relationships/image" Target="../media/image25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6.jpeg"/><Relationship Id="rId2" Type="http://schemas.openxmlformats.org/officeDocument/2006/relationships/tags" Target="../tags/tag26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8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6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6.jpeg"/><Relationship Id="rId2" Type="http://schemas.openxmlformats.org/officeDocument/2006/relationships/tags" Target="../tags/tag28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image" Target="../media/image9.png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vmlDrawing" Target="../drawings/vmlDrawing3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image" Target="../media/image3.emf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9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313.xml"/><Relationship Id="rId13" Type="http://schemas.openxmlformats.org/officeDocument/2006/relationships/oleObject" Target="../embeddings/oleObject31.bin"/><Relationship Id="rId18" Type="http://schemas.openxmlformats.org/officeDocument/2006/relationships/image" Target="../media/image7.jpeg"/><Relationship Id="rId3" Type="http://schemas.openxmlformats.org/officeDocument/2006/relationships/tags" Target="../tags/tag308.xml"/><Relationship Id="rId7" Type="http://schemas.openxmlformats.org/officeDocument/2006/relationships/tags" Target="../tags/tag312.xml"/><Relationship Id="rId12" Type="http://schemas.openxmlformats.org/officeDocument/2006/relationships/slideMaster" Target="../slideMasters/slideMaster14.xml"/><Relationship Id="rId17" Type="http://schemas.openxmlformats.org/officeDocument/2006/relationships/image" Target="../media/image23.jpeg"/><Relationship Id="rId2" Type="http://schemas.openxmlformats.org/officeDocument/2006/relationships/tags" Target="../tags/tag307.xml"/><Relationship Id="rId16" Type="http://schemas.openxmlformats.org/officeDocument/2006/relationships/image" Target="../media/image22.jpeg"/><Relationship Id="rId1" Type="http://schemas.openxmlformats.org/officeDocument/2006/relationships/vmlDrawing" Target="../drawings/vmlDrawing30.vml"/><Relationship Id="rId6" Type="http://schemas.openxmlformats.org/officeDocument/2006/relationships/tags" Target="../tags/tag311.xml"/><Relationship Id="rId11" Type="http://schemas.openxmlformats.org/officeDocument/2006/relationships/tags" Target="../tags/tag316.xml"/><Relationship Id="rId5" Type="http://schemas.openxmlformats.org/officeDocument/2006/relationships/tags" Target="../tags/tag310.xml"/><Relationship Id="rId15" Type="http://schemas.openxmlformats.org/officeDocument/2006/relationships/image" Target="../media/image8.png"/><Relationship Id="rId10" Type="http://schemas.openxmlformats.org/officeDocument/2006/relationships/tags" Target="../tags/tag315.xml"/><Relationship Id="rId4" Type="http://schemas.openxmlformats.org/officeDocument/2006/relationships/tags" Target="../tags/tag309.xml"/><Relationship Id="rId9" Type="http://schemas.openxmlformats.org/officeDocument/2006/relationships/tags" Target="../tags/tag314.xml"/><Relationship Id="rId14" Type="http://schemas.openxmlformats.org/officeDocument/2006/relationships/image" Target="../media/image4.emf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Relationship Id="rId6" Type="http://schemas.openxmlformats.org/officeDocument/2006/relationships/image" Target="../media/image9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oleObject" Target="../embeddings/oleObject33.bin"/><Relationship Id="rId18" Type="http://schemas.openxmlformats.org/officeDocument/2006/relationships/image" Target="../media/image7.jpeg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12" Type="http://schemas.openxmlformats.org/officeDocument/2006/relationships/slideMaster" Target="../slideMasters/slideMaster15.xml"/><Relationship Id="rId17" Type="http://schemas.openxmlformats.org/officeDocument/2006/relationships/image" Target="../media/image23.jpeg"/><Relationship Id="rId2" Type="http://schemas.openxmlformats.org/officeDocument/2006/relationships/tags" Target="../tags/tag336.xml"/><Relationship Id="rId16" Type="http://schemas.openxmlformats.org/officeDocument/2006/relationships/image" Target="../media/image22.jpeg"/><Relationship Id="rId1" Type="http://schemas.openxmlformats.org/officeDocument/2006/relationships/vmlDrawing" Target="../drawings/vmlDrawing32.v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8.png"/><Relationship Id="rId10" Type="http://schemas.openxmlformats.org/officeDocument/2006/relationships/tags" Target="../tags/tag344.xml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image" Target="../media/image4.emf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5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2" Type="http://schemas.openxmlformats.org/officeDocument/2006/relationships/tags" Target="../tags/tag346.xml"/><Relationship Id="rId1" Type="http://schemas.openxmlformats.org/officeDocument/2006/relationships/vmlDrawing" Target="../drawings/vmlDrawing33.vml"/><Relationship Id="rId6" Type="http://schemas.openxmlformats.org/officeDocument/2006/relationships/tags" Target="../tags/tag350.xml"/><Relationship Id="rId11" Type="http://schemas.openxmlformats.org/officeDocument/2006/relationships/image" Target="../media/image20.png"/><Relationship Id="rId5" Type="http://schemas.openxmlformats.org/officeDocument/2006/relationships/tags" Target="../tags/tag349.xml"/><Relationship Id="rId10" Type="http://schemas.openxmlformats.org/officeDocument/2006/relationships/image" Target="../media/image17.emf"/><Relationship Id="rId4" Type="http://schemas.openxmlformats.org/officeDocument/2006/relationships/tags" Target="../tags/tag348.xml"/><Relationship Id="rId9" Type="http://schemas.openxmlformats.org/officeDocument/2006/relationships/oleObject" Target="../embeddings/oleObject34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6" Type="http://schemas.openxmlformats.org/officeDocument/2006/relationships/image" Target="../media/image9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81416" y="9090125"/>
            <a:ext cx="560071" cy="511175"/>
          </a:xfrm>
          <a:prstGeom prst="rect">
            <a:avLst/>
          </a:prstGeom>
        </p:spPr>
        <p:txBody>
          <a:bodyPr vert="horz" lIns="91400" tIns="45700" rIns="91400" bIns="45700" rtlCol="0" anchor="ctr"/>
          <a:lstStyle>
            <a:lvl1pPr algn="r">
              <a:defRPr sz="1292" b="1">
                <a:solidFill>
                  <a:srgbClr val="007D53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r" defTabSz="12801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2BB35BB-9AC7-416F-B935-1200457CAF1C}" type="slidenum">
              <a:rPr kumimoji="0" lang="en-GB" sz="1292" b="1" i="0" u="none" strike="noStrike" kern="1200" cap="none" spc="0" normalizeH="0" baseline="0" noProof="0" smtClean="0">
                <a:ln>
                  <a:noFill/>
                </a:ln>
                <a:solidFill>
                  <a:srgbClr val="007D5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12801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92" b="1" i="0" u="none" strike="noStrike" kern="1200" cap="none" spc="0" normalizeH="0" baseline="0" noProof="0" dirty="0">
              <a:ln>
                <a:noFill/>
              </a:ln>
              <a:solidFill>
                <a:srgbClr val="007D53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73365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6062227"/>
      </p:ext>
    </p:extLst>
  </p:cSld>
  <p:clrMapOvr>
    <a:masterClrMapping/>
  </p:clrMapOvr>
  <p:transition spd="slow" advClick="0" advTm="200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3" descr="C:\Users\19054\Desktop\PPMC Fine-Tuned Logo for Printing-2 (2)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800" y="1280160"/>
            <a:ext cx="8064000" cy="4479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4" descr="C:\Users\19054\Desktop\PPMC Fine-Tuned Logo for Printing-2 (2)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4762" y="0"/>
            <a:ext cx="138239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78486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9" y="344683"/>
            <a:ext cx="12327110" cy="36715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66868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581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3" descr="C:\Users\uche.adighibe\Desktop\Ministry logo.png">
            <a:extLst>
              <a:ext uri="{FF2B5EF4-FFF2-40B4-BE49-F238E27FC236}">
                <a16:creationId xmlns:a16="http://schemas.microsoft.com/office/drawing/2014/main" id="{A5ED0937-CA4A-40D1-B332-9E0CEAAB3D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00451" y="8458837"/>
            <a:ext cx="857543" cy="929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78790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>
            <a:extLst>
              <a:ext uri="{FF2B5EF4-FFF2-40B4-BE49-F238E27FC236}">
                <a16:creationId xmlns:a16="http://schemas.microsoft.com/office/drawing/2014/main" id="{1FE29521-2489-4427-88BC-245576687E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>
                        <a:extLst>
                          <a:ext uri="{FF2B5EF4-FFF2-40B4-BE49-F238E27FC236}">
                            <a16:creationId xmlns:a16="http://schemas.microsoft.com/office/drawing/2014/main" id="{1FE29521-2489-4427-88BC-245576687E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>
            <a:extLst>
              <a:ext uri="{FF2B5EF4-FFF2-40B4-BE49-F238E27FC236}">
                <a16:creationId xmlns:a16="http://schemas.microsoft.com/office/drawing/2014/main" id="{46FBACB0-EFF3-44DA-9D41-0962ADF534C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2"/>
            <a:ext cx="12801600" cy="5834063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4570B77A-08EE-492C-AE45-D8721712DBB1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0" y="5018409"/>
            <a:ext cx="12801600" cy="458279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000000"/>
              </a:solidFill>
              <a:latin typeface="+mn-lt"/>
              <a:ea typeface="+mn-ea"/>
            </a:endParaRPr>
          </a:p>
        </p:txBody>
      </p:sp>
      <p:pic>
        <p:nvPicPr>
          <p:cNvPr id="7" name="Picture 5" descr="logo">
            <a:extLst>
              <a:ext uri="{FF2B5EF4-FFF2-40B4-BE49-F238E27FC236}">
                <a16:creationId xmlns:a16="http://schemas.microsoft.com/office/drawing/2014/main" id="{120230F8-D4EA-454D-99BB-C7D822250A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246" y="6091877"/>
            <a:ext cx="1915239" cy="2449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>
            <a:extLst>
              <a:ext uri="{FF2B5EF4-FFF2-40B4-BE49-F238E27FC236}">
                <a16:creationId xmlns:a16="http://schemas.microsoft.com/office/drawing/2014/main" id="{DF537820-14B7-4474-8FA5-69C214D8919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5478" y="-13334"/>
            <a:ext cx="5117306" cy="4880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>
            <a:extLst>
              <a:ext uri="{FF2B5EF4-FFF2-40B4-BE49-F238E27FC236}">
                <a16:creationId xmlns:a16="http://schemas.microsoft.com/office/drawing/2014/main" id="{3147B610-D229-4597-8B00-CFDB1DD65BF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2794" y="1"/>
            <a:ext cx="3788806" cy="488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>
            <a:extLst>
              <a:ext uri="{FF2B5EF4-FFF2-40B4-BE49-F238E27FC236}">
                <a16:creationId xmlns:a16="http://schemas.microsoft.com/office/drawing/2014/main" id="{27D567E1-D84B-4C0A-AE7F-B592FF4E3A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3700464" cy="48828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McK Title Elements" hidden="1">
            <a:extLst>
              <a:ext uri="{FF2B5EF4-FFF2-40B4-BE49-F238E27FC236}">
                <a16:creationId xmlns:a16="http://schemas.microsoft.com/office/drawing/2014/main" id="{989C9CF8-F280-4698-AB8F-AA65B8F949E7}"/>
              </a:ext>
            </a:extLst>
          </p:cNvPr>
          <p:cNvGrpSpPr>
            <a:grpSpLocks/>
          </p:cNvGrpSpPr>
          <p:nvPr/>
        </p:nvGrpSpPr>
        <p:grpSpPr bwMode="auto">
          <a:xfrm>
            <a:off x="665083" y="8667045"/>
            <a:ext cx="6047424" cy="536958"/>
            <a:chOff x="1663" y="3140"/>
            <a:chExt cx="3109" cy="237"/>
          </a:xfrm>
        </p:grpSpPr>
        <p:sp>
          <p:nvSpPr>
            <p:cNvPr id="12" name="McK Document type">
              <a:extLst>
                <a:ext uri="{FF2B5EF4-FFF2-40B4-BE49-F238E27FC236}">
                  <a16:creationId xmlns:a16="http://schemas.microsoft.com/office/drawing/2014/main" id="{2CB65D66-8939-4ACE-81C9-B95127EBC6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140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99">
                  <a:solidFill>
                    <a:srgbClr val="DBE767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" name="McK Date">
              <a:extLst>
                <a:ext uri="{FF2B5EF4-FFF2-40B4-BE49-F238E27FC236}">
                  <a16:creationId xmlns:a16="http://schemas.microsoft.com/office/drawing/2014/main" id="{1B54718E-DBD9-484B-BBC9-C836C62C16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499">
                  <a:solidFill>
                    <a:srgbClr val="DBE767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71" y="5773811"/>
            <a:ext cx="8498289" cy="527517"/>
          </a:xfrm>
          <a:prstGeom prst="rect">
            <a:avLst/>
          </a:prstGeom>
        </p:spPr>
        <p:txBody>
          <a:bodyPr/>
          <a:lstStyle>
            <a:lvl1pPr>
              <a:defRPr sz="3428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71" y="7379242"/>
            <a:ext cx="8498289" cy="230704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342071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7" y="344699"/>
            <a:ext cx="12327109" cy="3070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089883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>
            <a:extLst>
              <a:ext uri="{FF2B5EF4-FFF2-40B4-BE49-F238E27FC236}">
                <a16:creationId xmlns:a16="http://schemas.microsoft.com/office/drawing/2014/main" id="{57600D25-5EF0-4FF8-8739-A88728419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63" hidden="1">
                        <a:extLst>
                          <a:ext uri="{FF2B5EF4-FFF2-40B4-BE49-F238E27FC236}">
                            <a16:creationId xmlns:a16="http://schemas.microsoft.com/office/drawing/2014/main" id="{57600D25-5EF0-4FF8-8739-A887284199D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>
            <a:extLst>
              <a:ext uri="{FF2B5EF4-FFF2-40B4-BE49-F238E27FC236}">
                <a16:creationId xmlns:a16="http://schemas.microsoft.com/office/drawing/2014/main" id="{486D60D0-91CC-4D8A-8891-80639D049DD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23"/>
            <a:ext cx="12801600" cy="87344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FFFFFF"/>
              </a:solidFill>
              <a:latin typeface="+mn-lt"/>
              <a:ea typeface="+mn-ea"/>
            </a:endParaRPr>
          </a:p>
        </p:txBody>
      </p:sp>
      <p:pic>
        <p:nvPicPr>
          <p:cNvPr id="7" name="Picture 67" descr="logo">
            <a:extLst>
              <a:ext uri="{FF2B5EF4-FFF2-40B4-BE49-F238E27FC236}">
                <a16:creationId xmlns:a16="http://schemas.microsoft.com/office/drawing/2014/main" id="{7EB7FCDB-4513-4461-A4C1-1105D7C2230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1500" y="-31114"/>
            <a:ext cx="725091" cy="902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74" y="13623"/>
            <a:ext cx="10988249" cy="3070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8" y="1053119"/>
            <a:ext cx="12440017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00157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3" hidden="1">
            <a:extLst>
              <a:ext uri="{FF2B5EF4-FFF2-40B4-BE49-F238E27FC236}">
                <a16:creationId xmlns:a16="http://schemas.microsoft.com/office/drawing/2014/main" id="{4B7E6A5E-802B-434B-8EAF-F82F731820F1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6" name="Object 63" hidden="1">
                        <a:extLst>
                          <a:ext uri="{FF2B5EF4-FFF2-40B4-BE49-F238E27FC236}">
                            <a16:creationId xmlns:a16="http://schemas.microsoft.com/office/drawing/2014/main" id="{4B7E6A5E-802B-434B-8EAF-F82F731820F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">
            <a:extLst>
              <a:ext uri="{FF2B5EF4-FFF2-40B4-BE49-F238E27FC236}">
                <a16:creationId xmlns:a16="http://schemas.microsoft.com/office/drawing/2014/main" id="{164B70E6-00CC-44E2-AB76-C65CFDB004B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23"/>
            <a:ext cx="12801600" cy="87344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FFFFFF"/>
              </a:solidFill>
              <a:latin typeface="+mn-lt"/>
              <a:ea typeface="+mn-ea"/>
            </a:endParaRPr>
          </a:p>
        </p:txBody>
      </p:sp>
      <p:pic>
        <p:nvPicPr>
          <p:cNvPr id="11" name="Picture 67" descr="logo">
            <a:extLst>
              <a:ext uri="{FF2B5EF4-FFF2-40B4-BE49-F238E27FC236}">
                <a16:creationId xmlns:a16="http://schemas.microsoft.com/office/drawing/2014/main" id="{7FA6A406-F2A5-4C04-872F-26F9F9F89919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3165" y="-31114"/>
            <a:ext cx="743426" cy="902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74" y="13623"/>
            <a:ext cx="10988249" cy="3070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7" y="1053119"/>
            <a:ext cx="6062638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6523538" y="1053119"/>
            <a:ext cx="5994604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244044" y="435409"/>
            <a:ext cx="10965334" cy="258532"/>
          </a:xfrm>
        </p:spPr>
        <p:txBody>
          <a:bodyPr/>
          <a:lstStyle>
            <a:lvl1pPr>
              <a:defRPr b="1">
                <a:solidFill>
                  <a:schemeClr val="accent4">
                    <a:lumMod val="40000"/>
                    <a:lumOff val="6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14397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63" hidden="1">
            <a:extLst>
              <a:ext uri="{FF2B5EF4-FFF2-40B4-BE49-F238E27FC236}">
                <a16:creationId xmlns:a16="http://schemas.microsoft.com/office/drawing/2014/main" id="{8904296A-4BFC-4EFA-B847-C6B6B9BF61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3" name="Object 63" hidden="1">
                        <a:extLst>
                          <a:ext uri="{FF2B5EF4-FFF2-40B4-BE49-F238E27FC236}">
                            <a16:creationId xmlns:a16="http://schemas.microsoft.com/office/drawing/2014/main" id="{8904296A-4BFC-4EFA-B847-C6B6B9BF61D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3">
            <a:extLst>
              <a:ext uri="{FF2B5EF4-FFF2-40B4-BE49-F238E27FC236}">
                <a16:creationId xmlns:a16="http://schemas.microsoft.com/office/drawing/2014/main" id="{BB41AC69-2973-430F-969A-B0E29DA06FC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23"/>
            <a:ext cx="12801600" cy="87344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4" rIns="95263" bIns="47644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29">
              <a:solidFill>
                <a:srgbClr val="FFFFFF"/>
              </a:solidFill>
              <a:latin typeface="+mn-lt"/>
              <a:ea typeface="+mn-ea"/>
            </a:endParaRPr>
          </a:p>
        </p:txBody>
      </p:sp>
      <p:pic>
        <p:nvPicPr>
          <p:cNvPr id="15" name="Picture 67" descr="logo">
            <a:extLst>
              <a:ext uri="{FF2B5EF4-FFF2-40B4-BE49-F238E27FC236}">
                <a16:creationId xmlns:a16="http://schemas.microsoft.com/office/drawing/2014/main" id="{B2F61FE9-C6F0-415E-9B1B-2EA8C04678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1500" y="-31114"/>
            <a:ext cx="725091" cy="902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74" y="13623"/>
            <a:ext cx="10988249" cy="30700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7" y="1053119"/>
            <a:ext cx="6062638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6523538" y="1053119"/>
            <a:ext cx="5994604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6"/>
          <p:cNvSpPr>
            <a:spLocks noGrp="1"/>
          </p:cNvSpPr>
          <p:nvPr>
            <p:ph sz="quarter" idx="15"/>
          </p:nvPr>
        </p:nvSpPr>
        <p:spPr>
          <a:xfrm>
            <a:off x="237267" y="5315778"/>
            <a:ext cx="6062638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6"/>
          <p:cNvSpPr>
            <a:spLocks noGrp="1"/>
          </p:cNvSpPr>
          <p:nvPr>
            <p:ph sz="quarter" idx="16"/>
          </p:nvPr>
        </p:nvSpPr>
        <p:spPr>
          <a:xfrm>
            <a:off x="6523538" y="5315778"/>
            <a:ext cx="5994604" cy="1292662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259219" y="435409"/>
            <a:ext cx="10965334" cy="258532"/>
          </a:xfrm>
        </p:spPr>
        <p:txBody>
          <a:bodyPr/>
          <a:lstStyle>
            <a:lvl1pPr>
              <a:defRPr b="1">
                <a:solidFill>
                  <a:schemeClr val="accent4">
                    <a:lumMod val="40000"/>
                    <a:lumOff val="6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0035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01985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1289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2_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21;p3">
            <a:extLst>
              <a:ext uri="{FF2B5EF4-FFF2-40B4-BE49-F238E27FC236}">
                <a16:creationId xmlns:a16="http://schemas.microsoft.com/office/drawing/2014/main" id="{057262CB-B49E-4C5F-BB76-3D0645CB9232}"/>
              </a:ext>
            </a:extLst>
          </p:cNvPr>
          <p:cNvSpPr txBox="1"/>
          <p:nvPr/>
        </p:nvSpPr>
        <p:spPr>
          <a:xfrm>
            <a:off x="11711464" y="9312276"/>
            <a:ext cx="226695" cy="2244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buClr>
                <a:srgbClr val="000000"/>
              </a:buClr>
              <a:buFont typeface="Arial" panose="020B0604020202020204" pitchFamily="34" charset="0"/>
              <a:buNone/>
              <a:defRPr/>
            </a:pPr>
            <a:fld id="{6BC0D34D-16BE-4741-99D4-3BCE4F31E915}" type="slidenum">
              <a:rPr lang="en-US" altLang="en-US" sz="735" smtClean="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 eaLnBrk="1" hangingPunct="1">
                <a:buClr>
                  <a:srgbClr val="000000"/>
                </a:buClr>
                <a:buFont typeface="Arial" panose="020B0604020202020204" pitchFamily="34" charset="0"/>
                <a:buNone/>
                <a:defRPr/>
              </a:pPr>
              <a:t>‹#›</a:t>
            </a:fld>
            <a:endParaRPr lang="en-US" altLang="en-US" sz="735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0623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49" y="33854"/>
            <a:ext cx="12327109" cy="307007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00266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000000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ltGray">
          <a:xfrm>
            <a:off x="0" y="5018329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000000"/>
              </a:solidFill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6027" y="6090930"/>
            <a:ext cx="1916166" cy="2449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6258" y="-13574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2184" y="1"/>
            <a:ext cx="3789455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McK Title Elements" hidden="1"/>
          <p:cNvGrpSpPr>
            <a:grpSpLocks/>
          </p:cNvGrpSpPr>
          <p:nvPr/>
        </p:nvGrpSpPr>
        <p:grpSpPr bwMode="auto">
          <a:xfrm>
            <a:off x="664460" y="8666928"/>
            <a:ext cx="6048160" cy="537432"/>
            <a:chOff x="1663" y="3140"/>
            <a:chExt cx="3109" cy="237"/>
          </a:xfrm>
        </p:grpSpPr>
        <p:sp>
          <p:nvSpPr>
            <p:cNvPr id="12" name="McK Document type"/>
            <p:cNvSpPr txBox="1">
              <a:spLocks noChangeArrowheads="1"/>
            </p:cNvSpPr>
            <p:nvPr/>
          </p:nvSpPr>
          <p:spPr bwMode="auto">
            <a:xfrm>
              <a:off x="1663" y="3140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99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499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69" y="5773809"/>
            <a:ext cx="8498289" cy="527517"/>
          </a:xfrm>
          <a:prstGeom prst="rect">
            <a:avLst/>
          </a:prstGeom>
        </p:spPr>
        <p:txBody>
          <a:bodyPr/>
          <a:lstStyle>
            <a:lvl1pPr>
              <a:defRPr sz="3428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69" y="7379240"/>
            <a:ext cx="8498289" cy="230704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88773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7" y="344696"/>
            <a:ext cx="12327109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180939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31"/>
            <a:ext cx="12801600" cy="87300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FFFFFF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37273" y="13620"/>
            <a:ext cx="10988249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6" name="Picture 5" descr="logo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1064" y="-31697"/>
            <a:ext cx="724716" cy="902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8" y="1053119"/>
            <a:ext cx="12440017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6564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31"/>
            <a:ext cx="12801600" cy="87300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FFFFFF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37273" y="13620"/>
            <a:ext cx="10988249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6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3268" y="-31697"/>
            <a:ext cx="742519" cy="902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6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237267" y="1053119"/>
            <a:ext cx="6062638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>
          <a:xfrm>
            <a:off x="6523538" y="1053119"/>
            <a:ext cx="5994604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244042" y="435407"/>
            <a:ext cx="10965334" cy="263790"/>
          </a:xfrm>
        </p:spPr>
        <p:txBody>
          <a:bodyPr/>
          <a:lstStyle>
            <a:lvl1pPr>
              <a:defRPr b="1">
                <a:solidFill>
                  <a:schemeClr val="accent4">
                    <a:lumMod val="40000"/>
                    <a:lumOff val="6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Click to edit Sub-Title</a:t>
            </a:r>
          </a:p>
        </p:txBody>
      </p:sp>
    </p:spTree>
    <p:extLst>
      <p:ext uri="{BB962C8B-B14F-4D97-AF65-F5344CB8AC3E}">
        <p14:creationId xmlns:p14="http://schemas.microsoft.com/office/powerpoint/2010/main" val="5170202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31"/>
            <a:ext cx="12801600" cy="87300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5263" tIns="47643" rIns="95263" bIns="47643" anchor="ctr"/>
          <a:lstStyle/>
          <a:p>
            <a:endParaRPr lang="en-GB" sz="1929">
              <a:solidFill>
                <a:srgbClr val="FFFFFF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73" y="13620"/>
            <a:ext cx="10988249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237267" y="1053119"/>
            <a:ext cx="6062638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4"/>
          </p:nvPr>
        </p:nvSpPr>
        <p:spPr>
          <a:xfrm>
            <a:off x="6523538" y="1053119"/>
            <a:ext cx="5994604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5"/>
          </p:nvPr>
        </p:nvSpPr>
        <p:spPr>
          <a:xfrm>
            <a:off x="237267" y="5315778"/>
            <a:ext cx="6062638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6"/>
          <p:cNvSpPr>
            <a:spLocks noGrp="1"/>
          </p:cNvSpPr>
          <p:nvPr>
            <p:ph sz="quarter" idx="16"/>
          </p:nvPr>
        </p:nvSpPr>
        <p:spPr>
          <a:xfrm>
            <a:off x="6523538" y="5315778"/>
            <a:ext cx="5994604" cy="1318951"/>
          </a:xfrm>
        </p:spPr>
        <p:txBody>
          <a:bodyPr/>
          <a:lstStyle>
            <a:lvl1pPr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>
              <a:defRPr>
                <a:latin typeface="Century Gothic" pitchFamily="34" charset="0"/>
              </a:defRPr>
            </a:lvl2pPr>
            <a:lvl3pPr>
              <a:defRPr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259218" y="435407"/>
            <a:ext cx="10965334" cy="263790"/>
          </a:xfrm>
        </p:spPr>
        <p:txBody>
          <a:bodyPr/>
          <a:lstStyle>
            <a:lvl1pPr>
              <a:defRPr b="1">
                <a:solidFill>
                  <a:schemeClr val="accent4">
                    <a:lumMod val="40000"/>
                    <a:lumOff val="6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Click to edit Sub-Title</a:t>
            </a:r>
          </a:p>
        </p:txBody>
      </p:sp>
      <p:pic>
        <p:nvPicPr>
          <p:cNvPr id="13" name="Picture 12" descr="logo">
            <a:extLst>
              <a:ext uri="{FF2B5EF4-FFF2-40B4-BE49-F238E27FC236}">
                <a16:creationId xmlns:a16="http://schemas.microsoft.com/office/drawing/2014/main" id="{ABD233E1-8183-4402-852B-1A230B471CF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1064" y="-31697"/>
            <a:ext cx="724716" cy="902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19635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68011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6_Title Only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1;p3"/>
          <p:cNvSpPr txBox="1"/>
          <p:nvPr/>
        </p:nvSpPr>
        <p:spPr>
          <a:xfrm>
            <a:off x="11711096" y="9311977"/>
            <a:ext cx="227721" cy="224472"/>
          </a:xfrm>
          <a:prstGeom prst="rect">
            <a:avLst/>
          </a:prstGeom>
          <a:noFill/>
          <a:ln>
            <a:noFill/>
          </a:ln>
        </p:spPr>
        <p:txBody>
          <a:bodyPr spcFirstLastPara="1" lIns="0" tIns="0" rIns="0" bIns="0" anchor="ctr"/>
          <a:lstStyle/>
          <a:p>
            <a:pPr algn="r">
              <a:buClr>
                <a:srgbClr val="000000"/>
              </a:buClr>
              <a:buFont typeface="Arial"/>
              <a:buNone/>
              <a:defRPr/>
            </a:pPr>
            <a:fld id="{DF0E974C-6A55-462B-87DB-82542CC02567}" type="slidenum">
              <a:rPr lang="en-US" sz="776" kern="0">
                <a:solidFill>
                  <a:srgbClr val="000000"/>
                </a:solidFill>
                <a:ea typeface="Arial"/>
                <a:cs typeface="Arial"/>
                <a:sym typeface="Arial"/>
              </a:rPr>
              <a:pPr algn="r">
                <a:buClr>
                  <a:srgbClr val="000000"/>
                </a:buClr>
                <a:buFont typeface="Arial"/>
                <a:buNone/>
                <a:defRPr/>
              </a:pPr>
              <a:t>‹#›</a:t>
            </a:fld>
            <a:endParaRPr sz="776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83294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" y="3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1"/>
            <a:ext cx="12801600" cy="5018405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9640" tIns="59821" rIns="119640" bIns="59821" anchor="ctr"/>
          <a:lstStyle>
            <a:lvl1pPr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327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6" name="Picture 6" descr="photo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796032" y="-13335"/>
            <a:ext cx="5116195" cy="4880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petrolpump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012239" y="0"/>
            <a:ext cx="3789362" cy="488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picture4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3700463" cy="488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ltGray">
          <a:xfrm>
            <a:off x="0" y="5018409"/>
            <a:ext cx="12801600" cy="458279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9640" tIns="59821" rIns="119640" bIns="59821" anchor="ctr"/>
          <a:lstStyle>
            <a:lvl1pPr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327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0" name="Picture 5" descr="logo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301164" y="6091877"/>
            <a:ext cx="2571432" cy="2449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64530" y="8619502"/>
            <a:ext cx="6047422" cy="632117"/>
            <a:chOff x="1663" y="3119"/>
            <a:chExt cx="3109" cy="279"/>
          </a:xfrm>
        </p:grpSpPr>
        <p:sp>
          <p:nvSpPr>
            <p:cNvPr id="12" name="McK Document type"/>
            <p:cNvSpPr txBox="1">
              <a:spLocks noChangeArrowheads="1"/>
            </p:cNvSpPr>
            <p:nvPr/>
          </p:nvSpPr>
          <p:spPr bwMode="auto">
            <a:xfrm>
              <a:off x="1663" y="3119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74971" eaLnBrk="1" hangingPunct="1">
                <a:defRPr/>
              </a:pPr>
              <a:r>
                <a:rPr lang="en-US" sz="1809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1174971" eaLnBrk="1" hangingPunct="1">
                <a:defRPr/>
              </a:pPr>
              <a:r>
                <a:rPr lang="en-US" sz="1809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4" name="doc id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11285857" y="51118"/>
            <a:ext cx="937895" cy="17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6463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6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6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6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6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en-US" sz="1033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63" y="5773530"/>
            <a:ext cx="8498290" cy="656205"/>
          </a:xfrm>
          <a:prstGeom prst="rect">
            <a:avLst/>
          </a:prstGeom>
        </p:spPr>
        <p:txBody>
          <a:bodyPr/>
          <a:lstStyle>
            <a:lvl1pPr>
              <a:defRPr sz="4264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63" y="7379241"/>
            <a:ext cx="8498290" cy="278372"/>
          </a:xfrm>
        </p:spPr>
        <p:txBody>
          <a:bodyPr/>
          <a:lstStyle>
            <a:lvl1pPr>
              <a:defRPr sz="1809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1173424"/>
      </p:ext>
    </p:extLst>
  </p:cSld>
  <p:clrMapOvr>
    <a:masterClrMapping/>
  </p:clrMapOvr>
  <p:transition spd="slow" advClick="0" advTm="200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49" y="33851"/>
            <a:ext cx="12327109" cy="313291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311476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857131"/>
              </p:ext>
            </p:ext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0" y="5018298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81262" y="6614163"/>
            <a:ext cx="1790558" cy="1925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6259" y="-13597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2151" y="4"/>
            <a:ext cx="3789456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64460" y="8671476"/>
            <a:ext cx="6048160" cy="528360"/>
            <a:chOff x="1663" y="3142"/>
            <a:chExt cx="3109" cy="233"/>
          </a:xfrm>
        </p:grpSpPr>
        <p:sp>
          <p:nvSpPr>
            <p:cNvPr id="12" name="Document type"/>
            <p:cNvSpPr txBox="1">
              <a:spLocks noChangeArrowheads="1"/>
            </p:cNvSpPr>
            <p:nvPr/>
          </p:nvSpPr>
          <p:spPr bwMode="auto">
            <a:xfrm>
              <a:off x="1663" y="3142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 bwMode="auto">
          <a:xfrm>
            <a:off x="663539" y="5773433"/>
            <a:ext cx="8498289" cy="533223"/>
          </a:xfrm>
          <a:prstGeom prst="rect">
            <a:avLst/>
          </a:prstGeom>
        </p:spPr>
        <p:txBody>
          <a:bodyPr/>
          <a:lstStyle>
            <a:lvl1pPr>
              <a:defRPr sz="3465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 bwMode="auto">
          <a:xfrm>
            <a:off x="663539" y="7379247"/>
            <a:ext cx="8498289" cy="226344"/>
          </a:xfrm>
        </p:spPr>
        <p:txBody>
          <a:bodyPr/>
          <a:lstStyle>
            <a:lvl1pPr>
              <a:defRPr sz="1471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-13602"/>
            <a:ext cx="12801600" cy="9614802"/>
          </a:xfrm>
          <a:prstGeom prst="rect">
            <a:avLst/>
          </a:prstGeom>
          <a:noFill/>
          <a:ln w="762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5351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3635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8795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851264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507398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50" y="33848"/>
            <a:ext cx="12327110" cy="332681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17614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94"/>
            <a:ext cx="12327110" cy="283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09195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66" y="344704"/>
            <a:ext cx="12327110" cy="324576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sz="2109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37266" y="1166611"/>
            <a:ext cx="12326376" cy="942630"/>
          </a:xfrm>
        </p:spPr>
        <p:txBody>
          <a:bodyPr/>
          <a:lstStyle>
            <a:lvl1pPr marL="340627" indent="-340627">
              <a:lnSpc>
                <a:spcPct val="114000"/>
              </a:lnSpc>
              <a:buFont typeface="Arial" panose="020B0604020202020204" pitchFamily="34" charset="0"/>
              <a:buChar char="•"/>
              <a:defRPr sz="1845">
                <a:latin typeface="Century Gothic" panose="020B0502020202020204" pitchFamily="34" charset="0"/>
              </a:defRPr>
            </a:lvl1pPr>
            <a:lvl4pPr marL="545011" indent="-208164">
              <a:lnSpc>
                <a:spcPct val="114000"/>
              </a:lnSpc>
              <a:defRPr sz="1845">
                <a:latin typeface="Century Gothic" panose="020B0502020202020204" pitchFamily="34" charset="0"/>
              </a:defRPr>
            </a:lvl4pPr>
            <a:lvl5pPr marL="739930" indent="-194918">
              <a:lnSpc>
                <a:spcPct val="114000"/>
              </a:lnSpc>
              <a:defRPr sz="1845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6168787"/>
      </p:ext>
    </p:extLst>
  </p:cSld>
  <p:clrMapOvr>
    <a:masterClrMapping/>
  </p:clrMapOvr>
  <p:transition spd="slow" advClick="0" advTm="200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51" y="344688"/>
            <a:ext cx="12327110" cy="313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9925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4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2" y="33338"/>
            <a:ext cx="1462405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8" y="344687"/>
            <a:ext cx="12327109" cy="377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08515B36-3501-4329-AC1D-1E57358C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494638" y="9314932"/>
            <a:ext cx="17472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174971" eaLnBrk="1" hangingPunct="1">
              <a:defRPr/>
            </a:pPr>
            <a:fld id="{257188DC-7ED1-4108-8068-073109A732D2}" type="slidenum">
              <a:rPr lang="en-ZA" sz="1120" smtClean="0">
                <a:solidFill>
                  <a:srgbClr val="000000"/>
                </a:solidFill>
                <a:latin typeface="Century Gothic" panose="020B0502020202020204" pitchFamily="34" charset="0"/>
                <a:cs typeface="Arial" charset="0"/>
              </a:rPr>
              <a:pPr defTabSz="1174971" eaLnBrk="1" hangingPunct="1">
                <a:defRPr/>
              </a:pPr>
              <a:t>‹#›</a:t>
            </a:fld>
            <a:endParaRPr lang="en-ZA" sz="1120" dirty="0">
              <a:solidFill>
                <a:srgbClr val="000000"/>
              </a:solidFill>
              <a:latin typeface="Century Gothic" panose="020B05020202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9013214"/>
      </p:ext>
    </p:extLst>
  </p:cSld>
  <p:clrMapOvr>
    <a:masterClrMapping/>
  </p:clrMapOvr>
  <p:transition spd="slow" advClick="0" advTm="200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8015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96619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>
            <a:extLst>
              <a:ext uri="{FF2B5EF4-FFF2-40B4-BE49-F238E27FC236}">
                <a16:creationId xmlns:a16="http://schemas.microsoft.com/office/drawing/2014/main" id="{0B0763DE-B205-4532-BEF7-A3D79FA32E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>
                        <a:extLst>
                          <a:ext uri="{FF2B5EF4-FFF2-40B4-BE49-F238E27FC236}">
                            <a16:creationId xmlns:a16="http://schemas.microsoft.com/office/drawing/2014/main" id="{0B0763DE-B205-4532-BEF7-A3D79FA32E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>
            <a:extLst>
              <a:ext uri="{FF2B5EF4-FFF2-40B4-BE49-F238E27FC236}">
                <a16:creationId xmlns:a16="http://schemas.microsoft.com/office/drawing/2014/main" id="{06C6BBE6-6E6D-4ABF-AADC-4EF5ABA99A5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</p:spPr>
        <p:txBody>
          <a:bodyPr wrap="none" lIns="130451" tIns="65227" rIns="130451" bIns="65227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en-GB" altLang="en-US" sz="2284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A29F8AB2-0A80-4868-A582-47F052C26DDB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0" y="5018295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</p:spPr>
        <p:txBody>
          <a:bodyPr wrap="none" lIns="130451" tIns="65227" rIns="130451" bIns="65227"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defRPr/>
            </a:pPr>
            <a:endParaRPr lang="en-GB" altLang="en-US" sz="2284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7" name="Picture 5" descr="logo">
            <a:extLst>
              <a:ext uri="{FF2B5EF4-FFF2-40B4-BE49-F238E27FC236}">
                <a16:creationId xmlns:a16="http://schemas.microsoft.com/office/drawing/2014/main" id="{69FFA7CC-C2FE-4CAF-9B8E-5CF2AB6CE4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0153" y="6090889"/>
            <a:ext cx="2571659" cy="2449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>
            <a:extLst>
              <a:ext uri="{FF2B5EF4-FFF2-40B4-BE49-F238E27FC236}">
                <a16:creationId xmlns:a16="http://schemas.microsoft.com/office/drawing/2014/main" id="{65EC264F-1C92-4DF7-B787-4DB12B678AE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6258" y="-13606"/>
            <a:ext cx="5116104" cy="4879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>
            <a:extLst>
              <a:ext uri="{FF2B5EF4-FFF2-40B4-BE49-F238E27FC236}">
                <a16:creationId xmlns:a16="http://schemas.microsoft.com/office/drawing/2014/main" id="{E47AC331-E4EC-471A-BF9A-03EA6A4219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2145" y="0"/>
            <a:ext cx="3789456" cy="488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>
            <a:extLst>
              <a:ext uri="{FF2B5EF4-FFF2-40B4-BE49-F238E27FC236}">
                <a16:creationId xmlns:a16="http://schemas.microsoft.com/office/drawing/2014/main" id="{5590C148-1438-4669-98C9-876564D7063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701012" cy="4882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>
            <a:extLst>
              <a:ext uri="{FF2B5EF4-FFF2-40B4-BE49-F238E27FC236}">
                <a16:creationId xmlns:a16="http://schemas.microsoft.com/office/drawing/2014/main" id="{78010354-7192-48E9-AB51-04221DACF6C5}"/>
              </a:ext>
            </a:extLst>
          </p:cNvPr>
          <p:cNvGrpSpPr>
            <a:grpSpLocks/>
          </p:cNvGrpSpPr>
          <p:nvPr/>
        </p:nvGrpSpPr>
        <p:grpSpPr bwMode="auto">
          <a:xfrm>
            <a:off x="664459" y="8589835"/>
            <a:ext cx="6048160" cy="691632"/>
            <a:chOff x="1663" y="3106"/>
            <a:chExt cx="3109" cy="305"/>
          </a:xfrm>
        </p:grpSpPr>
        <p:sp>
          <p:nvSpPr>
            <p:cNvPr id="12" name="Document type">
              <a:extLst>
                <a:ext uri="{FF2B5EF4-FFF2-40B4-BE49-F238E27FC236}">
                  <a16:creationId xmlns:a16="http://schemas.microsoft.com/office/drawing/2014/main" id="{FAA88645-E719-48D1-B509-C82CDED9A2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998" dirty="0">
                  <a:solidFill>
                    <a:srgbClr val="DBE767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" name="Date">
              <a:extLst>
                <a:ext uri="{FF2B5EF4-FFF2-40B4-BE49-F238E27FC236}">
                  <a16:creationId xmlns:a16="http://schemas.microsoft.com/office/drawing/2014/main" id="{3059968C-4285-4610-BDA0-D6B0E6C568E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998" dirty="0">
                  <a:solidFill>
                    <a:srgbClr val="DBE767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38" y="5773431"/>
            <a:ext cx="8498290" cy="703424"/>
          </a:xfrm>
          <a:prstGeom prst="rect">
            <a:avLst/>
          </a:prstGeom>
        </p:spPr>
        <p:txBody>
          <a:bodyPr/>
          <a:lstStyle>
            <a:lvl1pPr>
              <a:defRPr sz="4571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38" y="7379240"/>
            <a:ext cx="8498290" cy="307748"/>
          </a:xfrm>
        </p:spPr>
        <p:txBody>
          <a:bodyPr/>
          <a:lstStyle>
            <a:lvl1pPr>
              <a:defRPr sz="1998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80240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65" y="344682"/>
            <a:ext cx="12327110" cy="43088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55933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66792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65" y="33834"/>
            <a:ext cx="12327110" cy="430888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70035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348580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43325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ECDF6C20-0B38-4EBF-A039-01A2F388F0D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 bwMode="gray">
          <a:xfrm>
            <a:off x="11467059" y="9192001"/>
            <a:ext cx="224420" cy="21974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fld id="{E94FCD8C-79DF-420C-8706-5D6862467B9D}" type="slidenum">
              <a:rPr lang="en-US" altLang="en-US" sz="1428">
                <a:solidFill>
                  <a:srgbClr val="000000"/>
                </a:solidFill>
              </a:rPr>
              <a:pPr algn="ctr"/>
              <a:t>‹#›</a:t>
            </a:fld>
            <a:endParaRPr lang="en-US" altLang="en-US" sz="1428">
              <a:solidFill>
                <a:srgbClr val="000000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70104" y="344172"/>
            <a:ext cx="11521393" cy="43088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506800" y="1072614"/>
            <a:ext cx="294811" cy="22424344"/>
          </a:xfrm>
          <a:solidFill>
            <a:schemeClr val="bg2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4482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17155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4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2" y="33338"/>
            <a:ext cx="1462405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4F995D34-F5A1-4FF8-82AC-7F863B22516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494638" y="9314932"/>
            <a:ext cx="17472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174971" eaLnBrk="1" hangingPunct="1">
              <a:defRPr/>
            </a:pPr>
            <a:fld id="{257188DC-7ED1-4108-8068-073109A732D2}" type="slidenum">
              <a:rPr lang="en-ZA" sz="1120" smtClean="0">
                <a:solidFill>
                  <a:srgbClr val="000000"/>
                </a:solidFill>
                <a:latin typeface="Century Gothic" panose="020B0502020202020204" pitchFamily="34" charset="0"/>
                <a:cs typeface="Arial" charset="0"/>
              </a:rPr>
              <a:pPr defTabSz="1174971" eaLnBrk="1" hangingPunct="1">
                <a:defRPr/>
              </a:pPr>
              <a:t>‹#›</a:t>
            </a:fld>
            <a:endParaRPr lang="en-ZA" sz="1120" dirty="0">
              <a:solidFill>
                <a:srgbClr val="000000"/>
              </a:solidFill>
              <a:latin typeface="Century Gothic" panose="020B05020202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346127"/>
      </p:ext>
    </p:extLst>
  </p:cSld>
  <p:clrMapOvr>
    <a:masterClrMapping/>
  </p:clrMapOvr>
  <p:transition spd="slow" advClick="0" advTm="200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65" y="344702"/>
            <a:ext cx="12327110" cy="351711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>
              <a:defRPr sz="2284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37265" y="960139"/>
            <a:ext cx="12326375" cy="1052386"/>
          </a:xfrm>
        </p:spPr>
        <p:txBody>
          <a:bodyPr/>
          <a:lstStyle>
            <a:lvl1pPr marL="368970" indent="-368970">
              <a:lnSpc>
                <a:spcPct val="114000"/>
              </a:lnSpc>
              <a:buFont typeface="Arial" panose="020B0604020202020204" pitchFamily="34" charset="0"/>
              <a:buChar char="•"/>
              <a:defRPr sz="1998">
                <a:latin typeface="Century Gothic" panose="020B0502020202020204" pitchFamily="34" charset="0"/>
              </a:defRPr>
            </a:lvl1pPr>
            <a:lvl4pPr marL="590361" indent="-225484">
              <a:lnSpc>
                <a:spcPct val="114000"/>
              </a:lnSpc>
              <a:defRPr sz="1998">
                <a:latin typeface="Century Gothic" panose="020B0502020202020204" pitchFamily="34" charset="0"/>
              </a:defRPr>
            </a:lvl4pPr>
            <a:lvl5pPr marL="801500" indent="-211136">
              <a:lnSpc>
                <a:spcPct val="114000"/>
              </a:lnSpc>
              <a:defRPr sz="1998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908056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>
            <a:extLst>
              <a:ext uri="{FF2B5EF4-FFF2-40B4-BE49-F238E27FC236}">
                <a16:creationId xmlns:a16="http://schemas.microsoft.com/office/drawing/2014/main" id="{ACF01BDF-D958-4C03-A8DB-7C63FD022C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>
                        <a:extLst>
                          <a:ext uri="{FF2B5EF4-FFF2-40B4-BE49-F238E27FC236}">
                            <a16:creationId xmlns:a16="http://schemas.microsoft.com/office/drawing/2014/main" id="{ACF01BDF-D958-4C03-A8DB-7C63FD022C0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>
            <a:extLst>
              <a:ext uri="{FF2B5EF4-FFF2-40B4-BE49-F238E27FC236}">
                <a16:creationId xmlns:a16="http://schemas.microsoft.com/office/drawing/2014/main" id="{655D22A9-4741-4B41-940F-C246E5D5EA0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"/>
            <a:ext cx="12801600" cy="5018405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714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6" name="Picture 6" descr="photo3">
            <a:extLst>
              <a:ext uri="{FF2B5EF4-FFF2-40B4-BE49-F238E27FC236}">
                <a16:creationId xmlns:a16="http://schemas.microsoft.com/office/drawing/2014/main" id="{25448B70-21CD-4AE5-8017-14C53B5FAF0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795476" y="-13335"/>
            <a:ext cx="5117306" cy="4880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petrolpump">
            <a:extLst>
              <a:ext uri="{FF2B5EF4-FFF2-40B4-BE49-F238E27FC236}">
                <a16:creationId xmlns:a16="http://schemas.microsoft.com/office/drawing/2014/main" id="{648FF4E6-EC89-42A1-8FA6-3EA5E21BC96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012794" y="0"/>
            <a:ext cx="3788806" cy="488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picture4">
            <a:extLst>
              <a:ext uri="{FF2B5EF4-FFF2-40B4-BE49-F238E27FC236}">
                <a16:creationId xmlns:a16="http://schemas.microsoft.com/office/drawing/2014/main" id="{8A4DF6FA-5557-4F8C-A664-9233A71694D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3700463" cy="488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E0653E42-0DBF-4844-8A19-93F3554651D8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0" y="5018406"/>
            <a:ext cx="12801600" cy="4582795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714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" name="Picture 5" descr="logo">
            <a:extLst>
              <a:ext uri="{FF2B5EF4-FFF2-40B4-BE49-F238E27FC236}">
                <a16:creationId xmlns:a16="http://schemas.microsoft.com/office/drawing/2014/main" id="{EFB3D63E-FE9A-490F-896F-5736D0DD96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841230" y="5942966"/>
            <a:ext cx="2908697" cy="3598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Elements" hidden="1">
            <a:extLst>
              <a:ext uri="{FF2B5EF4-FFF2-40B4-BE49-F238E27FC236}">
                <a16:creationId xmlns:a16="http://schemas.microsoft.com/office/drawing/2014/main" id="{6DD012F4-2C1F-4E29-924B-2E05803258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083" y="8668186"/>
            <a:ext cx="6047423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99">
                <a:solidFill>
                  <a:srgbClr val="DBE767"/>
                </a:solidFill>
                <a:latin typeface="Arial"/>
                <a:cs typeface="Arial" charset="0"/>
              </a:rPr>
              <a:t>Document type</a:t>
            </a:r>
          </a:p>
        </p:txBody>
      </p:sp>
      <p:sp>
        <p:nvSpPr>
          <p:cNvPr id="12" name="Title Elements" hidden="1">
            <a:extLst>
              <a:ext uri="{FF2B5EF4-FFF2-40B4-BE49-F238E27FC236}">
                <a16:creationId xmlns:a16="http://schemas.microsoft.com/office/drawing/2014/main" id="{ADC35C2E-26AF-4CB8-A195-C5FFF23498E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5083" y="8972233"/>
            <a:ext cx="6047423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99">
                <a:solidFill>
                  <a:srgbClr val="DBE767"/>
                </a:solidFill>
                <a:latin typeface="Arial"/>
                <a:cs typeface="Arial" charset="0"/>
              </a:rPr>
              <a:t>Date</a:t>
            </a:r>
          </a:p>
        </p:txBody>
      </p:sp>
      <p:sp>
        <p:nvSpPr>
          <p:cNvPr id="13" name="doc id">
            <a:extLst>
              <a:ext uri="{FF2B5EF4-FFF2-40B4-BE49-F238E27FC236}">
                <a16:creationId xmlns:a16="http://schemas.microsoft.com/office/drawing/2014/main" id="{B774E9FC-32E5-496D-8233-FC196DEE1B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84744" y="51118"/>
            <a:ext cx="940118" cy="1755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9147">
              <a:defRPr/>
            </a:pPr>
            <a:endParaRPr lang="en-US" sz="857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36" y="5773422"/>
            <a:ext cx="8498289" cy="527517"/>
          </a:xfrm>
          <a:prstGeom prst="rect">
            <a:avLst/>
          </a:prstGeom>
        </p:spPr>
        <p:txBody>
          <a:bodyPr/>
          <a:lstStyle>
            <a:lvl1pPr>
              <a:defRPr sz="3428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36" y="7379247"/>
            <a:ext cx="8498289" cy="230704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528789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>
            <a:extLst>
              <a:ext uri="{FF2B5EF4-FFF2-40B4-BE49-F238E27FC236}">
                <a16:creationId xmlns:a16="http://schemas.microsoft.com/office/drawing/2014/main" id="{9A0552F4-FEC9-4B1B-827F-4175F4C866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3" name="Object 1" hidden="1">
                        <a:extLst>
                          <a:ext uri="{FF2B5EF4-FFF2-40B4-BE49-F238E27FC236}">
                            <a16:creationId xmlns:a16="http://schemas.microsoft.com/office/drawing/2014/main" id="{9A0552F4-FEC9-4B1B-827F-4175F4C866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BDC2234-41AF-4AF8-BCFB-14E218A433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036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6" name="Picture 19" descr="green">
            <a:extLst>
              <a:ext uri="{FF2B5EF4-FFF2-40B4-BE49-F238E27FC236}">
                <a16:creationId xmlns:a16="http://schemas.microsoft.com/office/drawing/2014/main" id="{C971E73F-AF0B-48C6-94B7-8BD900E9E6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056507" y="8643304"/>
            <a:ext cx="745093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0" descr="logo">
            <a:extLst>
              <a:ext uri="{FF2B5EF4-FFF2-40B4-BE49-F238E27FC236}">
                <a16:creationId xmlns:a16="http://schemas.microsoft.com/office/drawing/2014/main" id="{DCE3BDFE-EC31-42FE-B5F6-3F496A10C2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233197" y="8892224"/>
            <a:ext cx="516731" cy="62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2">
            <a:extLst>
              <a:ext uri="{FF2B5EF4-FFF2-40B4-BE49-F238E27FC236}">
                <a16:creationId xmlns:a16="http://schemas.microsoft.com/office/drawing/2014/main" id="{2BB82D69-B0FB-4861-80B2-C5C4CD6D31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41480" y="9318944"/>
            <a:ext cx="165110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8EDF0E1C-4A2E-47E6-8E4C-1DBBB3FFE04B}" type="slidenum">
              <a:rPr lang="en-ZA" altLang="x-none" sz="1050">
                <a:solidFill>
                  <a:srgbClr val="000000"/>
                </a:solidFill>
              </a:rPr>
              <a:pPr eaLnBrk="1" hangingPunct="1"/>
              <a:t>‹#›</a:t>
            </a:fld>
            <a:endParaRPr lang="en-ZA" altLang="x-none" sz="1050">
              <a:solidFill>
                <a:srgbClr val="000000"/>
              </a:solidFill>
            </a:endParaRPr>
          </a:p>
        </p:txBody>
      </p:sp>
      <p:sp>
        <p:nvSpPr>
          <p:cNvPr id="9" name="1. On-page tracker" hidden="1">
            <a:extLst>
              <a:ext uri="{FF2B5EF4-FFF2-40B4-BE49-F238E27FC236}">
                <a16:creationId xmlns:a16="http://schemas.microsoft.com/office/drawing/2014/main" id="{51DD36A1-50F2-4925-BA2C-E5A60A13DB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696" y="37783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99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0" name="3. Unit of measure" hidden="1">
            <a:extLst>
              <a:ext uri="{FF2B5EF4-FFF2-40B4-BE49-F238E27FC236}">
                <a16:creationId xmlns:a16="http://schemas.microsoft.com/office/drawing/2014/main" id="{A85BBA81-D107-4117-982C-B47CE2CD10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696" y="760095"/>
            <a:ext cx="12328208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14">
                <a:solidFill>
                  <a:srgbClr val="808080"/>
                </a:solidFill>
                <a:latin typeface="Arial"/>
                <a:cs typeface="Arial" charset="0"/>
              </a:rPr>
              <a:t>Subtitle</a:t>
            </a:r>
          </a:p>
        </p:txBody>
      </p:sp>
      <p:sp>
        <p:nvSpPr>
          <p:cNvPr id="11" name="4. Footnote" hidden="1">
            <a:extLst>
              <a:ext uri="{FF2B5EF4-FFF2-40B4-BE49-F238E27FC236}">
                <a16:creationId xmlns:a16="http://schemas.microsoft.com/office/drawing/2014/main" id="{3BAA6473-8190-4D83-B33A-12F825DAE72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697" y="8943017"/>
            <a:ext cx="1048464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71">
                <a:solidFill>
                  <a:srgbClr val="000000"/>
                </a:solidFill>
                <a:latin typeface="Arial"/>
                <a:cs typeface="Arial" charset="0"/>
              </a:rPr>
              <a:t>1 Footnot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8930FA0-290D-44E7-B3D7-A31BB91C5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696" y="9245277"/>
            <a:ext cx="10007918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503382" indent="-503382" defTabSz="959147">
              <a:tabLst>
                <a:tab pos="499981" algn="l"/>
              </a:tabLst>
              <a:defRPr/>
            </a:pPr>
            <a:r>
              <a:rPr lang="en-US" sz="1071">
                <a:solidFill>
                  <a:srgbClr val="000000"/>
                </a:solidFill>
                <a:cs typeface="Arial" charset="0"/>
              </a:rPr>
              <a:t>Source: Source</a:t>
            </a:r>
          </a:p>
        </p:txBody>
      </p:sp>
      <p:grpSp>
        <p:nvGrpSpPr>
          <p:cNvPr id="13" name="ACET" hidden="1">
            <a:extLst>
              <a:ext uri="{FF2B5EF4-FFF2-40B4-BE49-F238E27FC236}">
                <a16:creationId xmlns:a16="http://schemas.microsoft.com/office/drawing/2014/main" id="{9922503E-AC02-44D7-8E4F-815EDF107CE4}"/>
              </a:ext>
            </a:extLst>
          </p:cNvPr>
          <p:cNvGrpSpPr>
            <a:grpSpLocks/>
          </p:cNvGrpSpPr>
          <p:nvPr/>
        </p:nvGrpSpPr>
        <p:grpSpPr bwMode="auto">
          <a:xfrm>
            <a:off x="2075261" y="2152513"/>
            <a:ext cx="6090761" cy="545603"/>
            <a:chOff x="915" y="789"/>
            <a:chExt cx="2686" cy="241"/>
          </a:xfrm>
        </p:grpSpPr>
        <p:cxnSp>
          <p:nvCxnSpPr>
            <p:cNvPr id="14" name="AutoShape 249">
              <a:extLst>
                <a:ext uri="{FF2B5EF4-FFF2-40B4-BE49-F238E27FC236}">
                  <a16:creationId xmlns:a16="http://schemas.microsoft.com/office/drawing/2014/main" id="{F7863E33-3F57-426D-8F74-B2A475499B5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>
              <a:extLst>
                <a:ext uri="{FF2B5EF4-FFF2-40B4-BE49-F238E27FC236}">
                  <a16:creationId xmlns:a16="http://schemas.microsoft.com/office/drawing/2014/main" id="{81D9369A-1953-4584-8D47-86EDC641FB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89"/>
              <a:ext cx="2686" cy="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714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>
                <a:defRPr/>
              </a:pPr>
              <a:r>
                <a:rPr lang="en-US" sz="1714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6" name="LegendBoxes" hidden="1">
            <a:extLst>
              <a:ext uri="{FF2B5EF4-FFF2-40B4-BE49-F238E27FC236}">
                <a16:creationId xmlns:a16="http://schemas.microsoft.com/office/drawing/2014/main" id="{89D947F1-0F63-42D5-885D-2816FA22E247}"/>
              </a:ext>
            </a:extLst>
          </p:cNvPr>
          <p:cNvGrpSpPr>
            <a:grpSpLocks/>
          </p:cNvGrpSpPr>
          <p:nvPr/>
        </p:nvGrpSpPr>
        <p:grpSpPr bwMode="auto">
          <a:xfrm>
            <a:off x="11473106" y="411164"/>
            <a:ext cx="911314" cy="1404280"/>
            <a:chOff x="4936" y="176"/>
            <a:chExt cx="402" cy="620"/>
          </a:xfrm>
        </p:grpSpPr>
        <p:sp>
          <p:nvSpPr>
            <p:cNvPr id="17" name="Legend1">
              <a:extLst>
                <a:ext uri="{FF2B5EF4-FFF2-40B4-BE49-F238E27FC236}">
                  <a16:creationId xmlns:a16="http://schemas.microsoft.com/office/drawing/2014/main" id="{8E35540A-F08A-4F43-B798-7D9080A7D3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8" name="LegendRectangle1">
              <a:extLst>
                <a:ext uri="{FF2B5EF4-FFF2-40B4-BE49-F238E27FC236}">
                  <a16:creationId xmlns:a16="http://schemas.microsoft.com/office/drawing/2014/main" id="{569F9248-ED7A-49BC-ADD7-9E90F2F24A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9" name="Legend2">
              <a:extLst>
                <a:ext uri="{FF2B5EF4-FFF2-40B4-BE49-F238E27FC236}">
                  <a16:creationId xmlns:a16="http://schemas.microsoft.com/office/drawing/2014/main" id="{F937E0F2-697E-4E15-B554-9AB418F8AD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0" name="LegendRectangle2">
              <a:extLst>
                <a:ext uri="{FF2B5EF4-FFF2-40B4-BE49-F238E27FC236}">
                  <a16:creationId xmlns:a16="http://schemas.microsoft.com/office/drawing/2014/main" id="{B7FA0F31-26BF-405C-964B-BE492AA8E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1" name="Legend3">
              <a:extLst>
                <a:ext uri="{FF2B5EF4-FFF2-40B4-BE49-F238E27FC236}">
                  <a16:creationId xmlns:a16="http://schemas.microsoft.com/office/drawing/2014/main" id="{B5AD06B6-91D1-40ED-BA8B-B15BCF0BE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2" name="LegendRectangle3">
              <a:extLst>
                <a:ext uri="{FF2B5EF4-FFF2-40B4-BE49-F238E27FC236}">
                  <a16:creationId xmlns:a16="http://schemas.microsoft.com/office/drawing/2014/main" id="{F7DCC3F1-2D6B-4083-A32C-B92B5EDE5C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Legend4">
              <a:extLst>
                <a:ext uri="{FF2B5EF4-FFF2-40B4-BE49-F238E27FC236}">
                  <a16:creationId xmlns:a16="http://schemas.microsoft.com/office/drawing/2014/main" id="{2F280389-7052-4A8F-AD01-69EC2C426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24" name="LegendRectangle4">
              <a:extLst>
                <a:ext uri="{FF2B5EF4-FFF2-40B4-BE49-F238E27FC236}">
                  <a16:creationId xmlns:a16="http://schemas.microsoft.com/office/drawing/2014/main" id="{D229BD15-C519-4913-9CD1-A48F62AB0A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25" name="LegendLines" hidden="1">
            <a:extLst>
              <a:ext uri="{FF2B5EF4-FFF2-40B4-BE49-F238E27FC236}">
                <a16:creationId xmlns:a16="http://schemas.microsoft.com/office/drawing/2014/main" id="{6B96D935-021D-4A2F-A7A8-11BC5C6E1230}"/>
              </a:ext>
            </a:extLst>
          </p:cNvPr>
          <p:cNvGrpSpPr>
            <a:grpSpLocks/>
          </p:cNvGrpSpPr>
          <p:nvPr/>
        </p:nvGrpSpPr>
        <p:grpSpPr bwMode="auto">
          <a:xfrm>
            <a:off x="11033044" y="420053"/>
            <a:ext cx="1351370" cy="976638"/>
            <a:chOff x="4750" y="176"/>
            <a:chExt cx="596" cy="431"/>
          </a:xfrm>
        </p:grpSpPr>
        <p:sp>
          <p:nvSpPr>
            <p:cNvPr id="26" name="LineLegend1">
              <a:extLst>
                <a:ext uri="{FF2B5EF4-FFF2-40B4-BE49-F238E27FC236}">
                  <a16:creationId xmlns:a16="http://schemas.microsoft.com/office/drawing/2014/main" id="{ECB951AC-C653-4ECE-97BF-6AF94BBC11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LineLegend2">
              <a:extLst>
                <a:ext uri="{FF2B5EF4-FFF2-40B4-BE49-F238E27FC236}">
                  <a16:creationId xmlns:a16="http://schemas.microsoft.com/office/drawing/2014/main" id="{D365EECE-43B2-4AF2-8556-13D8B48E52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LineLegend3">
              <a:extLst>
                <a:ext uri="{FF2B5EF4-FFF2-40B4-BE49-F238E27FC236}">
                  <a16:creationId xmlns:a16="http://schemas.microsoft.com/office/drawing/2014/main" id="{71D6F9DB-8603-40BE-939C-04955699D4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Legend1">
              <a:extLst>
                <a:ext uri="{FF2B5EF4-FFF2-40B4-BE49-F238E27FC236}">
                  <a16:creationId xmlns:a16="http://schemas.microsoft.com/office/drawing/2014/main" id="{6984CC42-FD2D-4362-B0DC-C2B75AF7F8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0" name="Legend2">
              <a:extLst>
                <a:ext uri="{FF2B5EF4-FFF2-40B4-BE49-F238E27FC236}">
                  <a16:creationId xmlns:a16="http://schemas.microsoft.com/office/drawing/2014/main" id="{753DDD4E-42DF-4E2C-AE89-6189499370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31" name="Legend3">
              <a:extLst>
                <a:ext uri="{FF2B5EF4-FFF2-40B4-BE49-F238E27FC236}">
                  <a16:creationId xmlns:a16="http://schemas.microsoft.com/office/drawing/2014/main" id="{058A4D85-9E9A-4D77-86D9-BC8B800FC7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32" name="Sticker" hidden="1">
            <a:extLst>
              <a:ext uri="{FF2B5EF4-FFF2-40B4-BE49-F238E27FC236}">
                <a16:creationId xmlns:a16="http://schemas.microsoft.com/office/drawing/2014/main" id="{63F08AFC-BCCA-4401-A2EC-0717AE4EB8A3}"/>
              </a:ext>
            </a:extLst>
          </p:cNvPr>
          <p:cNvGrpSpPr>
            <a:grpSpLocks/>
          </p:cNvGrpSpPr>
          <p:nvPr/>
        </p:nvGrpSpPr>
        <p:grpSpPr bwMode="auto">
          <a:xfrm>
            <a:off x="11419649" y="428943"/>
            <a:ext cx="1145249" cy="302260"/>
            <a:chOff x="7938831" y="285750"/>
            <a:chExt cx="801944" cy="211424"/>
          </a:xfrm>
        </p:grpSpPr>
        <p:sp>
          <p:nvSpPr>
            <p:cNvPr id="33" name="StickerRectangle">
              <a:extLst>
                <a:ext uri="{FF2B5EF4-FFF2-40B4-BE49-F238E27FC236}">
                  <a16:creationId xmlns:a16="http://schemas.microsoft.com/office/drawing/2014/main" id="{150C0A7A-943F-41E3-A3C3-0393A5FD19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8831" y="285750"/>
              <a:ext cx="801944" cy="1576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34" name="AutoShape 31">
              <a:extLst>
                <a:ext uri="{FF2B5EF4-FFF2-40B4-BE49-F238E27FC236}">
                  <a16:creationId xmlns:a16="http://schemas.microsoft.com/office/drawing/2014/main" id="{CE9B736B-E150-4F36-AF25-97715C0BBD3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941240" y="285750"/>
              <a:ext cx="0" cy="21142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>
              <a:extLst>
                <a:ext uri="{FF2B5EF4-FFF2-40B4-BE49-F238E27FC236}">
                  <a16:creationId xmlns:a16="http://schemas.microsoft.com/office/drawing/2014/main" id="{AA2BBB1E-6108-4523-8CD2-F5DE045365C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7941240" y="497174"/>
              <a:ext cx="7995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>
            <a:extLst>
              <a:ext uri="{FF2B5EF4-FFF2-40B4-BE49-F238E27FC236}">
                <a16:creationId xmlns:a16="http://schemas.microsoft.com/office/drawing/2014/main" id="{2F537772-AE47-454C-8A38-B7EC6E3CF360}"/>
              </a:ext>
            </a:extLst>
          </p:cNvPr>
          <p:cNvGrpSpPr>
            <a:grpSpLocks/>
          </p:cNvGrpSpPr>
          <p:nvPr/>
        </p:nvGrpSpPr>
        <p:grpSpPr bwMode="auto">
          <a:xfrm>
            <a:off x="11378085" y="411163"/>
            <a:ext cx="1006617" cy="1864677"/>
            <a:chOff x="6655594" y="273840"/>
            <a:chExt cx="704714" cy="1306516"/>
          </a:xfrm>
        </p:grpSpPr>
        <p:grpSp>
          <p:nvGrpSpPr>
            <p:cNvPr id="37" name="MoonLegend1">
              <a:extLst>
                <a:ext uri="{FF2B5EF4-FFF2-40B4-BE49-F238E27FC236}">
                  <a16:creationId xmlns:a16="http://schemas.microsoft.com/office/drawing/2014/main" id="{F26A458E-1E10-4879-9B70-CC273B481FB3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>
                <a:extLst>
                  <a:ext uri="{FF2B5EF4-FFF2-40B4-BE49-F238E27FC236}">
                    <a16:creationId xmlns:a16="http://schemas.microsoft.com/office/drawing/2014/main" id="{D159D5DD-A435-4967-A206-759520041FA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6" name="Arc 39">
                <a:extLst>
                  <a:ext uri="{FF2B5EF4-FFF2-40B4-BE49-F238E27FC236}">
                    <a16:creationId xmlns:a16="http://schemas.microsoft.com/office/drawing/2014/main" id="{3779D882-8811-4D28-87B1-DD1CBB2996FA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2">
              <a:extLst>
                <a:ext uri="{FF2B5EF4-FFF2-40B4-BE49-F238E27FC236}">
                  <a16:creationId xmlns:a16="http://schemas.microsoft.com/office/drawing/2014/main" id="{44215995-D0F3-4437-B8E4-1331DF0A4A6B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>
                <a:extLst>
                  <a:ext uri="{FF2B5EF4-FFF2-40B4-BE49-F238E27FC236}">
                    <a16:creationId xmlns:a16="http://schemas.microsoft.com/office/drawing/2014/main" id="{FB85EFE7-533A-48A6-89FC-D5F98151AD1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42">
                <a:extLst>
                  <a:ext uri="{FF2B5EF4-FFF2-40B4-BE49-F238E27FC236}">
                    <a16:creationId xmlns:a16="http://schemas.microsoft.com/office/drawing/2014/main" id="{F6E145ED-FE85-4FAD-80AD-156EDFD298B2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9" name="MoonLegend4">
              <a:extLst>
                <a:ext uri="{FF2B5EF4-FFF2-40B4-BE49-F238E27FC236}">
                  <a16:creationId xmlns:a16="http://schemas.microsoft.com/office/drawing/2014/main" id="{19EC1F7A-79D2-4596-BE5A-9AC1C40FA285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>
                <a:extLst>
                  <a:ext uri="{FF2B5EF4-FFF2-40B4-BE49-F238E27FC236}">
                    <a16:creationId xmlns:a16="http://schemas.microsoft.com/office/drawing/2014/main" id="{D120D008-29D6-4CDF-AF9A-6A545C18906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8">
                <a:extLst>
                  <a:ext uri="{FF2B5EF4-FFF2-40B4-BE49-F238E27FC236}">
                    <a16:creationId xmlns:a16="http://schemas.microsoft.com/office/drawing/2014/main" id="{0D9C729F-078B-43BF-B95D-EC48E2E01278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40" name="MoonLegend5">
              <a:extLst>
                <a:ext uri="{FF2B5EF4-FFF2-40B4-BE49-F238E27FC236}">
                  <a16:creationId xmlns:a16="http://schemas.microsoft.com/office/drawing/2014/main" id="{8D251E42-3271-4112-B4E9-0881B42D9FF1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>
                <a:extLst>
                  <a:ext uri="{FF2B5EF4-FFF2-40B4-BE49-F238E27FC236}">
                    <a16:creationId xmlns:a16="http://schemas.microsoft.com/office/drawing/2014/main" id="{66451DA2-E6A5-40BE-9F3C-7B8ACBB18C9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Oval 51">
                <a:extLst>
                  <a:ext uri="{FF2B5EF4-FFF2-40B4-BE49-F238E27FC236}">
                    <a16:creationId xmlns:a16="http://schemas.microsoft.com/office/drawing/2014/main" id="{67B258D3-C86C-4229-8239-34E5DC668E1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41" name="Legend1">
              <a:extLst>
                <a:ext uri="{FF2B5EF4-FFF2-40B4-BE49-F238E27FC236}">
                  <a16:creationId xmlns:a16="http://schemas.microsoft.com/office/drawing/2014/main" id="{79117EE7-EEBE-4B92-801B-68ED2E60B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286298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2" name="Legend2">
              <a:extLst>
                <a:ext uri="{FF2B5EF4-FFF2-40B4-BE49-F238E27FC236}">
                  <a16:creationId xmlns:a16="http://schemas.microsoft.com/office/drawing/2014/main" id="{693CD5FF-BAA5-4A4F-8795-CE77F0A6F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561927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3" name="Legend3">
              <a:extLst>
                <a:ext uri="{FF2B5EF4-FFF2-40B4-BE49-F238E27FC236}">
                  <a16:creationId xmlns:a16="http://schemas.microsoft.com/office/drawing/2014/main" id="{F7620577-6D85-48AC-9556-0C31F73D7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836000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4" name="Legend4">
              <a:extLst>
                <a:ext uri="{FF2B5EF4-FFF2-40B4-BE49-F238E27FC236}">
                  <a16:creationId xmlns:a16="http://schemas.microsoft.com/office/drawing/2014/main" id="{E552FA7E-FB21-4747-927E-1EAB94DC1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1106958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45" name="Legend5">
              <a:extLst>
                <a:ext uri="{FF2B5EF4-FFF2-40B4-BE49-F238E27FC236}">
                  <a16:creationId xmlns:a16="http://schemas.microsoft.com/office/drawing/2014/main" id="{AD936F2D-0730-4CFE-8D0B-54DD0421BE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1384145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46" name="MoonLegend3">
              <a:extLst>
                <a:ext uri="{FF2B5EF4-FFF2-40B4-BE49-F238E27FC236}">
                  <a16:creationId xmlns:a16="http://schemas.microsoft.com/office/drawing/2014/main" id="{9C54ED74-2396-4C25-A5C2-61EE7AED5A0D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>
                <a:extLst>
                  <a:ext uri="{FF2B5EF4-FFF2-40B4-BE49-F238E27FC236}">
                    <a16:creationId xmlns:a16="http://schemas.microsoft.com/office/drawing/2014/main" id="{FE23294C-3238-4510-8EF5-F4FB71CF9E27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Arc 48">
                <a:extLst>
                  <a:ext uri="{FF2B5EF4-FFF2-40B4-BE49-F238E27FC236}">
                    <a16:creationId xmlns:a16="http://schemas.microsoft.com/office/drawing/2014/main" id="{4A5D0D8A-357E-4C92-91CB-9F8F8185DAEC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7" name="Moon" hidden="1">
            <a:extLst>
              <a:ext uri="{FF2B5EF4-FFF2-40B4-BE49-F238E27FC236}">
                <a16:creationId xmlns:a16="http://schemas.microsoft.com/office/drawing/2014/main" id="{8BF75261-0334-4189-9459-FB3F88EC7416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2995375" y="5551806"/>
            <a:ext cx="363379" cy="362268"/>
            <a:chOff x="1600" y="1600"/>
            <a:chExt cx="160" cy="160"/>
          </a:xfrm>
        </p:grpSpPr>
        <p:sp>
          <p:nvSpPr>
            <p:cNvPr id="58" name="Oval 90">
              <a:extLst>
                <a:ext uri="{FF2B5EF4-FFF2-40B4-BE49-F238E27FC236}">
                  <a16:creationId xmlns:a16="http://schemas.microsoft.com/office/drawing/2014/main" id="{61FB6E27-CE45-42AD-AFB0-B10669A2C8F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</a:endParaRPr>
            </a:p>
          </p:txBody>
        </p:sp>
        <p:sp>
          <p:nvSpPr>
            <p:cNvPr id="59" name="Arc 91">
              <a:extLst>
                <a:ext uri="{FF2B5EF4-FFF2-40B4-BE49-F238E27FC236}">
                  <a16:creationId xmlns:a16="http://schemas.microsoft.com/office/drawing/2014/main" id="{8F99CD77-11D1-4186-9704-2907D419ABF7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60" name="Object 63" hidden="1">
            <a:extLst>
              <a:ext uri="{FF2B5EF4-FFF2-40B4-BE49-F238E27FC236}">
                <a16:creationId xmlns:a16="http://schemas.microsoft.com/office/drawing/2014/main" id="{E7B33B6C-B67C-4798-B45D-43C49B7544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668" y="2224"/>
          <a:ext cx="3334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60" name="Object 63" hidden="1">
                        <a:extLst>
                          <a:ext uri="{FF2B5EF4-FFF2-40B4-BE49-F238E27FC236}">
                            <a16:creationId xmlns:a16="http://schemas.microsoft.com/office/drawing/2014/main" id="{E7B33B6C-B67C-4798-B45D-43C49B7544F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8" y="2224"/>
                        <a:ext cx="3334" cy="222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8" y="344688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5672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97499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50" y="344695"/>
            <a:ext cx="12327110" cy="2908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89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37249" y="960128"/>
            <a:ext cx="12326376" cy="858184"/>
          </a:xfrm>
        </p:spPr>
        <p:txBody>
          <a:bodyPr/>
          <a:lstStyle>
            <a:lvl1pPr marL="300045" indent="-300045">
              <a:lnSpc>
                <a:spcPct val="114000"/>
              </a:lnSpc>
              <a:buFont typeface="Arial" panose="020B0604020202020204" pitchFamily="34" charset="0"/>
              <a:buChar char="•"/>
              <a:defRPr sz="1680">
                <a:latin typeface="Century Gothic" panose="020B0502020202020204" pitchFamily="34" charset="0"/>
              </a:defRPr>
            </a:lvl1pPr>
            <a:lvl4pPr marL="480073" indent="-183360">
              <a:lnSpc>
                <a:spcPct val="114000"/>
              </a:lnSpc>
              <a:defRPr sz="1680">
                <a:latin typeface="Century Gothic" panose="020B0502020202020204" pitchFamily="34" charset="0"/>
              </a:defRPr>
            </a:lvl4pPr>
            <a:lvl5pPr marL="651765" indent="-171693">
              <a:lnSpc>
                <a:spcPct val="114000"/>
              </a:lnSpc>
              <a:defRPr sz="168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17676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50" y="33849"/>
            <a:ext cx="12327110" cy="307007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8632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12"/>
          <a:ext cx="226778" cy="226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2"/>
                        <a:ext cx="226778" cy="22676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0" y="0"/>
            <a:ext cx="12801600" cy="5018294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714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8" name="Picture 6" descr="photo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796259" y="-13606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012149" y="12"/>
            <a:ext cx="3789457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5" y="12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3"/>
          <p:cNvSpPr>
            <a:spLocks noChangeArrowheads="1"/>
          </p:cNvSpPr>
          <p:nvPr userDrawn="1"/>
        </p:nvSpPr>
        <p:spPr bwMode="ltGray">
          <a:xfrm>
            <a:off x="0" y="5018294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714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841867" y="5941972"/>
            <a:ext cx="2908190" cy="3600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Elements" hidden="1"/>
          <p:cNvSpPr txBox="1">
            <a:spLocks noChangeArrowheads="1"/>
          </p:cNvSpPr>
          <p:nvPr/>
        </p:nvSpPr>
        <p:spPr bwMode="auto">
          <a:xfrm>
            <a:off x="664462" y="8667537"/>
            <a:ext cx="6048161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99">
                <a:solidFill>
                  <a:srgbClr val="DBE767"/>
                </a:solidFill>
                <a:latin typeface="Arial"/>
                <a:cs typeface="Arial" charset="0"/>
              </a:rPr>
              <a:t>Document type</a:t>
            </a:r>
          </a:p>
        </p:txBody>
      </p:sp>
      <p:sp>
        <p:nvSpPr>
          <p:cNvPr id="13" name="Title Elements" hidden="1"/>
          <p:cNvSpPr txBox="1">
            <a:spLocks noChangeArrowheads="1"/>
          </p:cNvSpPr>
          <p:nvPr/>
        </p:nvSpPr>
        <p:spPr bwMode="auto">
          <a:xfrm>
            <a:off x="664462" y="8973071"/>
            <a:ext cx="6048161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99">
                <a:solidFill>
                  <a:srgbClr val="DBE767"/>
                </a:solidFill>
                <a:latin typeface="Arial"/>
                <a:cs typeface="Arial" charset="0"/>
              </a:rPr>
              <a:t>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40" y="5773423"/>
            <a:ext cx="8498289" cy="527718"/>
          </a:xfrm>
          <a:prstGeom prst="rect">
            <a:avLst/>
          </a:prstGeom>
        </p:spPr>
        <p:txBody>
          <a:bodyPr/>
          <a:lstStyle>
            <a:lvl1pPr>
              <a:defRPr sz="3429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40" y="7379251"/>
            <a:ext cx="8498289" cy="230645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17" name="doc id"/>
          <p:cNvSpPr>
            <a:spLocks noChangeArrowheads="1"/>
          </p:cNvSpPr>
          <p:nvPr/>
        </p:nvSpPr>
        <p:spPr bwMode="auto">
          <a:xfrm>
            <a:off x="11285335" y="52157"/>
            <a:ext cx="938861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9140" fontAlgn="auto">
              <a:spcBef>
                <a:spcPts val="0"/>
              </a:spcBef>
              <a:spcAft>
                <a:spcPts val="0"/>
              </a:spcAft>
            </a:pPr>
            <a:endParaRPr lang="en-US" sz="857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7562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2BAE1D5-6309-43E9-A273-792486AD4D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6" y="2270"/>
          <a:ext cx="2266" cy="22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2BAE1D5-6309-43E9-A273-792486AD4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6" y="2270"/>
                        <a:ext cx="2266" cy="22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52" y="344691"/>
            <a:ext cx="1232711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71962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79D54-EB71-4FD7-B43B-CFC1A8248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234872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4"/>
          <a:ext cx="226778" cy="226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226778" cy="22676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/>
        </p:nvSpPr>
        <p:spPr bwMode="auto">
          <a:xfrm>
            <a:off x="0" y="0"/>
            <a:ext cx="12801600" cy="5018294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71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6" descr="photo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796259" y="-13606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012145" y="5"/>
            <a:ext cx="3789457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" y="5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3"/>
          <p:cNvSpPr>
            <a:spLocks noChangeArrowheads="1"/>
          </p:cNvSpPr>
          <p:nvPr userDrawn="1"/>
        </p:nvSpPr>
        <p:spPr bwMode="ltGray">
          <a:xfrm>
            <a:off x="0" y="5018294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71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841861" y="5941965"/>
            <a:ext cx="2908190" cy="3600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Elements" hidden="1"/>
          <p:cNvSpPr txBox="1">
            <a:spLocks noChangeArrowheads="1"/>
          </p:cNvSpPr>
          <p:nvPr/>
        </p:nvSpPr>
        <p:spPr bwMode="auto">
          <a:xfrm>
            <a:off x="664458" y="8667530"/>
            <a:ext cx="6048161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99" dirty="0">
                <a:solidFill>
                  <a:srgbClr val="DBE767"/>
                </a:solidFill>
                <a:latin typeface="Arial"/>
                <a:cs typeface="Arial" charset="0"/>
              </a:rPr>
              <a:t>Document type</a:t>
            </a:r>
          </a:p>
        </p:txBody>
      </p:sp>
      <p:sp>
        <p:nvSpPr>
          <p:cNvPr id="13" name="Title Elements" hidden="1"/>
          <p:cNvSpPr txBox="1">
            <a:spLocks noChangeArrowheads="1"/>
          </p:cNvSpPr>
          <p:nvPr/>
        </p:nvSpPr>
        <p:spPr bwMode="auto">
          <a:xfrm>
            <a:off x="664458" y="8973067"/>
            <a:ext cx="6048161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99" dirty="0">
                <a:solidFill>
                  <a:srgbClr val="DBE767"/>
                </a:solidFill>
                <a:latin typeface="Arial"/>
                <a:cs typeface="Arial" charset="0"/>
              </a:rPr>
              <a:t>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63534" y="5773421"/>
            <a:ext cx="8498289" cy="527718"/>
          </a:xfrm>
          <a:prstGeom prst="rect">
            <a:avLst/>
          </a:prstGeom>
        </p:spPr>
        <p:txBody>
          <a:bodyPr/>
          <a:lstStyle>
            <a:lvl1pPr>
              <a:defRPr sz="3429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63534" y="7379243"/>
            <a:ext cx="8498289" cy="230645"/>
          </a:xfrm>
        </p:spPr>
        <p:txBody>
          <a:bodyPr/>
          <a:lstStyle>
            <a:lvl1pPr>
              <a:defRPr sz="1499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7" name="doc id"/>
          <p:cNvSpPr>
            <a:spLocks noChangeArrowheads="1"/>
          </p:cNvSpPr>
          <p:nvPr/>
        </p:nvSpPr>
        <p:spPr bwMode="auto">
          <a:xfrm>
            <a:off x="11285330" y="52157"/>
            <a:ext cx="938861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9189"/>
            <a:endParaRPr lang="en-US" sz="857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5622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3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237808" y="37785"/>
            <a:ext cx="1112484" cy="278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09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237810" y="760097"/>
            <a:ext cx="12325985" cy="31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068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8" name="Slide Elements" hidden="1"/>
          <p:cNvGrpSpPr>
            <a:grpSpLocks/>
          </p:cNvGrpSpPr>
          <p:nvPr/>
        </p:nvGrpSpPr>
        <p:grpSpPr bwMode="auto">
          <a:xfrm>
            <a:off x="237810" y="8908145"/>
            <a:ext cx="10483532" cy="501939"/>
            <a:chOff x="75" y="3928"/>
            <a:chExt cx="637" cy="222"/>
          </a:xfrm>
        </p:grpSpPr>
        <p:sp>
          <p:nvSpPr>
            <p:cNvPr id="9" name="4. Footnote"/>
            <p:cNvSpPr txBox="1">
              <a:spLocks noChangeArrowheads="1"/>
            </p:cNvSpPr>
            <p:nvPr/>
          </p:nvSpPr>
          <p:spPr bwMode="auto">
            <a:xfrm>
              <a:off x="75" y="3928"/>
              <a:ext cx="637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292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" name="5. Source"/>
            <p:cNvSpPr>
              <a:spLocks noChangeArrowheads="1"/>
            </p:cNvSpPr>
            <p:nvPr/>
          </p:nvSpPr>
          <p:spPr bwMode="auto">
            <a:xfrm>
              <a:off x="75" y="4062"/>
              <a:ext cx="608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74663" indent="-474663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92" dirty="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2075816" y="1964066"/>
            <a:ext cx="6089650" cy="734053"/>
            <a:chOff x="915" y="706"/>
            <a:chExt cx="2686" cy="324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6"/>
              <a:ext cx="2686" cy="3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27" b="1" dirty="0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27" dirty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14" name="LegendBoxes" hidden="1"/>
          <p:cNvGrpSpPr>
            <a:grpSpLocks/>
          </p:cNvGrpSpPr>
          <p:nvPr/>
        </p:nvGrpSpPr>
        <p:grpSpPr bwMode="auto">
          <a:xfrm>
            <a:off x="11472545" y="411165"/>
            <a:ext cx="1027724" cy="1404279"/>
            <a:chOff x="4936" y="176"/>
            <a:chExt cx="453" cy="620"/>
          </a:xfrm>
        </p:grpSpPr>
        <p:sp>
          <p:nvSpPr>
            <p:cNvPr id="1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3" name="LegendLines" hidden="1"/>
          <p:cNvGrpSpPr>
            <a:grpSpLocks/>
          </p:cNvGrpSpPr>
          <p:nvPr/>
        </p:nvGrpSpPr>
        <p:grpSpPr bwMode="auto">
          <a:xfrm>
            <a:off x="11034722" y="420056"/>
            <a:ext cx="1465653" cy="1017426"/>
            <a:chOff x="4750" y="176"/>
            <a:chExt cx="647" cy="449"/>
          </a:xfrm>
        </p:grpSpPr>
        <p:sp>
          <p:nvSpPr>
            <p:cNvPr id="2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30" name="McKSticker" hidden="1"/>
          <p:cNvGrpSpPr>
            <a:grpSpLocks/>
          </p:cNvGrpSpPr>
          <p:nvPr/>
        </p:nvGrpSpPr>
        <p:grpSpPr bwMode="auto">
          <a:xfrm>
            <a:off x="11041384" y="428947"/>
            <a:ext cx="1522414" cy="304482"/>
            <a:chOff x="7673881" y="285750"/>
            <a:chExt cx="1066894" cy="212366"/>
          </a:xfrm>
        </p:grpSpPr>
        <p:sp>
          <p:nvSpPr>
            <p:cNvPr id="31" name="StickerRectangle"/>
            <p:cNvSpPr>
              <a:spLocks noChangeArrowheads="1"/>
            </p:cNvSpPr>
            <p:nvPr/>
          </p:nvSpPr>
          <p:spPr bwMode="auto">
            <a:xfrm>
              <a:off x="7778002" y="285750"/>
              <a:ext cx="962773" cy="1857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32" name="AutoShape 31"/>
            <p:cNvCxnSpPr>
              <a:cxnSpLocks noChangeShapeType="1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32"/>
            <p:cNvCxnSpPr>
              <a:cxnSpLocks noChangeShapeType="1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LegendMoons" hidden="1"/>
          <p:cNvGrpSpPr>
            <a:grpSpLocks/>
          </p:cNvGrpSpPr>
          <p:nvPr/>
        </p:nvGrpSpPr>
        <p:grpSpPr bwMode="auto">
          <a:xfrm>
            <a:off x="11379206" y="411164"/>
            <a:ext cx="1121438" cy="1864677"/>
            <a:chOff x="6655594" y="273840"/>
            <a:chExt cx="785541" cy="1306516"/>
          </a:xfrm>
        </p:grpSpPr>
        <p:grpSp>
          <p:nvGrpSpPr>
            <p:cNvPr id="35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4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6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1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7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38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7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4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5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2995932" y="5551809"/>
            <a:ext cx="362268" cy="362268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</a:endParaRPr>
            </a:p>
          </p:txBody>
        </p:sp>
      </p:grpSp>
      <p:pic>
        <p:nvPicPr>
          <p:cNvPr id="58" name="Picture 6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2" y="33338"/>
            <a:ext cx="1462405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9" name="TextBox 2">
            <a:extLst>
              <a:ext uri="{FF2B5EF4-FFF2-40B4-BE49-F238E27FC236}">
                <a16:creationId xmlns:a16="http://schemas.microsoft.com/office/drawing/2014/main" id="{7383F8B9-D733-4F87-8C53-C1BF7F982A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2494638" y="9331137"/>
            <a:ext cx="17472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1174971" eaLnBrk="1" hangingPunct="1">
              <a:defRPr/>
            </a:pPr>
            <a:fld id="{257188DC-7ED1-4108-8068-073109A732D2}" type="slidenum">
              <a:rPr lang="en-ZA" sz="1120" smtClean="0">
                <a:solidFill>
                  <a:srgbClr val="000000"/>
                </a:solidFill>
                <a:latin typeface="Century Gothic" panose="020B0502020202020204" pitchFamily="34" charset="0"/>
                <a:cs typeface="Arial" charset="0"/>
              </a:rPr>
              <a:pPr defTabSz="1174971" eaLnBrk="1" hangingPunct="1">
                <a:defRPr/>
              </a:pPr>
              <a:t>‹#›</a:t>
            </a:fld>
            <a:endParaRPr lang="en-ZA" sz="1400" dirty="0">
              <a:solidFill>
                <a:srgbClr val="000000"/>
              </a:solidFill>
              <a:latin typeface="Century Gothic" panose="020B050202020202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4921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Click="0" advTm="200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2BAE1D5-6309-43E9-A273-792486AD4D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2" y="2270"/>
          <a:ext cx="2266" cy="22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2BAE1D5-6309-43E9-A273-792486AD4D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72" y="2270"/>
                        <a:ext cx="2266" cy="22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7" y="344686"/>
            <a:ext cx="1232711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867457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79D54-EB71-4FD7-B43B-CFC1A8248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36973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297171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281416" y="9090125"/>
            <a:ext cx="560071" cy="511175"/>
          </a:xfrm>
          <a:prstGeom prst="rect">
            <a:avLst/>
          </a:prstGeom>
        </p:spPr>
        <p:txBody>
          <a:bodyPr vert="horz" lIns="91400" tIns="45700" rIns="91400" bIns="45700" rtlCol="0" anchor="ctr"/>
          <a:lstStyle>
            <a:lvl1pPr algn="r">
              <a:defRPr sz="1292" b="1">
                <a:solidFill>
                  <a:srgbClr val="007D53"/>
                </a:solidFill>
                <a:latin typeface="Century Gothic" panose="020B0502020202020204" pitchFamily="34" charset="0"/>
              </a:defRPr>
            </a:lvl1pPr>
          </a:lstStyle>
          <a:p>
            <a:fld id="{C2BB35BB-9AC7-416F-B935-1200457CAF1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091270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9B92F-FBE3-47F8-93EB-939366E95259}" type="datetime8">
              <a:rPr lang="en-NG" smtClean="0"/>
              <a:t>29/10/2021 12:29 PM</a:t>
            </a:fld>
            <a:endParaRPr lang="en-N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82CB9-32D2-418E-8A45-EFBD3D52BAE8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168543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51" y="344686"/>
            <a:ext cx="12327111" cy="355162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69425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0" y="5018298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81262" y="6614163"/>
            <a:ext cx="1790558" cy="1925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6259" y="-13597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2151" y="4"/>
            <a:ext cx="3789456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64460" y="8671476"/>
            <a:ext cx="6048160" cy="528360"/>
            <a:chOff x="1663" y="3142"/>
            <a:chExt cx="3109" cy="233"/>
          </a:xfrm>
        </p:grpSpPr>
        <p:sp>
          <p:nvSpPr>
            <p:cNvPr id="12" name="Document type"/>
            <p:cNvSpPr txBox="1">
              <a:spLocks noChangeArrowheads="1"/>
            </p:cNvSpPr>
            <p:nvPr/>
          </p:nvSpPr>
          <p:spPr bwMode="auto">
            <a:xfrm>
              <a:off x="1663" y="3142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 bwMode="auto">
          <a:xfrm>
            <a:off x="663539" y="5773433"/>
            <a:ext cx="8498289" cy="533223"/>
          </a:xfrm>
          <a:prstGeom prst="rect">
            <a:avLst/>
          </a:prstGeom>
        </p:spPr>
        <p:txBody>
          <a:bodyPr/>
          <a:lstStyle>
            <a:lvl1pPr>
              <a:defRPr sz="3465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 bwMode="auto">
          <a:xfrm>
            <a:off x="663539" y="7379247"/>
            <a:ext cx="8498289" cy="226344"/>
          </a:xfrm>
        </p:spPr>
        <p:txBody>
          <a:bodyPr/>
          <a:lstStyle>
            <a:lvl1pPr>
              <a:defRPr sz="1471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-13602"/>
            <a:ext cx="12801600" cy="9614802"/>
          </a:xfrm>
          <a:prstGeom prst="rect">
            <a:avLst/>
          </a:prstGeom>
          <a:noFill/>
          <a:ln w="762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98377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98378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128511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79075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/>
          <p:cNvGrpSpPr/>
          <p:nvPr/>
        </p:nvGrpSpPr>
        <p:grpSpPr>
          <a:xfrm>
            <a:off x="110" y="3802273"/>
            <a:ext cx="12801599" cy="1394803"/>
            <a:chOff x="0" y="0"/>
            <a:chExt cx="9906000" cy="1983179"/>
          </a:xfrm>
          <a:effectLst>
            <a:reflection blurRad="6350" stA="50000" endA="300" endPos="90000" dist="50800" dir="5400000" sy="-100000" algn="bl" rotWithShape="0"/>
          </a:effectLst>
        </p:grpSpPr>
        <p:grpSp>
          <p:nvGrpSpPr>
            <p:cNvPr id="7" name="Group 3"/>
            <p:cNvGrpSpPr/>
            <p:nvPr/>
          </p:nvGrpSpPr>
          <p:grpSpPr>
            <a:xfrm>
              <a:off x="0" y="0"/>
              <a:ext cx="6738938" cy="1983179"/>
              <a:chOff x="0" y="0"/>
              <a:chExt cx="6738938" cy="1983179"/>
            </a:xfrm>
          </p:grpSpPr>
          <p:pic>
            <p:nvPicPr>
              <p:cNvPr id="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/>
              </a:blip>
              <a:srcRect/>
              <a:stretch>
                <a:fillRect/>
              </a:stretch>
            </p:blipFill>
            <p:spPr bwMode="auto">
              <a:xfrm>
                <a:off x="3632200" y="0"/>
                <a:ext cx="3106738" cy="1983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lum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3632200" cy="1983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5" cstate="print">
              <a:lum/>
            </a:blip>
            <a:srcRect/>
            <a:stretch>
              <a:fillRect/>
            </a:stretch>
          </p:blipFill>
          <p:spPr bwMode="auto">
            <a:xfrm>
              <a:off x="6686550" y="0"/>
              <a:ext cx="3219450" cy="1983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0" y="0"/>
            <a:ext cx="12801600" cy="9601200"/>
          </a:xfrm>
          <a:prstGeom prst="rect">
            <a:avLst/>
          </a:prstGeom>
          <a:noFill/>
          <a:ln w="82550">
            <a:solidFill>
              <a:schemeClr val="accent3">
                <a:lumMod val="65000"/>
                <a:alpha val="50000"/>
              </a:scheme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119640" tIns="59821" rIns="119640" bIns="59821" anchor="ctr"/>
          <a:lstStyle/>
          <a:p>
            <a:pPr defTabSz="1174971">
              <a:defRPr/>
            </a:pPr>
            <a:endParaRPr lang="en-US" sz="2584" b="1" dirty="0">
              <a:solidFill>
                <a:prstClr val="black"/>
              </a:solidFill>
              <a:latin typeface="Book Antiqua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46259" y="7466623"/>
            <a:ext cx="2839574" cy="995986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119640" tIns="59821" rIns="119640" bIns="59821">
            <a:spAutoFit/>
          </a:bodyPr>
          <a:lstStyle/>
          <a:p>
            <a:pPr algn="ctr" defTabSz="1174971">
              <a:defRPr/>
            </a:pPr>
            <a:r>
              <a:rPr lang="en-US" sz="5687" b="1" dirty="0">
                <a:solidFill>
                  <a:prstClr val="black"/>
                </a:solidFill>
                <a:latin typeface="Century Gothic"/>
              </a:rPr>
              <a:t>N</a:t>
            </a:r>
            <a:r>
              <a:rPr lang="en-US" sz="5687" b="1" dirty="0">
                <a:solidFill>
                  <a:srgbClr val="FFC000"/>
                </a:solidFill>
                <a:latin typeface="Century Gothic"/>
              </a:rPr>
              <a:t>N</a:t>
            </a:r>
            <a:r>
              <a:rPr lang="en-US" sz="5687" b="1" dirty="0">
                <a:solidFill>
                  <a:srgbClr val="FF0000"/>
                </a:solidFill>
                <a:latin typeface="Century Gothic"/>
              </a:rPr>
              <a:t>P</a:t>
            </a:r>
            <a:r>
              <a:rPr lang="en-US" sz="5687" b="1" dirty="0">
                <a:solidFill>
                  <a:srgbClr val="003300"/>
                </a:solidFill>
                <a:latin typeface="Century Gothic"/>
              </a:rPr>
              <a:t>C</a:t>
            </a:r>
          </a:p>
        </p:txBody>
      </p:sp>
      <p:pic>
        <p:nvPicPr>
          <p:cNvPr id="16" name="Picture 70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0302" y="62230"/>
            <a:ext cx="1462405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82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38805" y="633173"/>
            <a:ext cx="8854440" cy="606146"/>
          </a:xfrm>
        </p:spPr>
        <p:txBody>
          <a:bodyPr lIns="89793" tIns="44110" rIns="89793" bIns="44110" anchor="ctr"/>
          <a:lstStyle>
            <a:lvl1pPr algn="ctr">
              <a:defRPr sz="336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091517" y="3288947"/>
            <a:ext cx="6949020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223907" y="2581994"/>
            <a:ext cx="6684458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188520" y="1855934"/>
            <a:ext cx="6755011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8"/>
          <p:cNvSpPr>
            <a:spLocks noGrp="1" noChangeArrowheads="1"/>
          </p:cNvSpPr>
          <p:nvPr>
            <p:ph type="ftr" sz="quarter" idx="15"/>
          </p:nvPr>
        </p:nvSpPr>
        <p:spPr>
          <a:xfrm>
            <a:off x="0" y="0"/>
            <a:ext cx="0" cy="0"/>
          </a:xfrm>
        </p:spPr>
        <p:txBody>
          <a:bodyPr lIns="90734" tIns="45371" rIns="90734" bIns="45371"/>
          <a:lstStyle>
            <a:lvl1pPr defTabSz="1174971" eaLnBrk="0" fontAlgn="auto" hangingPunct="0">
              <a:spcBef>
                <a:spcPts val="0"/>
              </a:spcBef>
              <a:spcAft>
                <a:spcPts val="0"/>
              </a:spcAft>
              <a:defRPr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3328668"/>
      </p:ext>
    </p:extLst>
  </p:cSld>
  <p:clrMapOvr>
    <a:masterClrMapping/>
  </p:clrMapOvr>
  <p:transition spd="slow" advClick="0" advTm="200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338717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2_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"/>
          <p:cNvSpPr txBox="1">
            <a:spLocks noGrp="1"/>
          </p:cNvSpPr>
          <p:nvPr>
            <p:ph type="title"/>
          </p:nvPr>
        </p:nvSpPr>
        <p:spPr>
          <a:xfrm>
            <a:off x="171135" y="328931"/>
            <a:ext cx="12310427" cy="417830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00071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3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4" name="Object 6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801600" cy="5834646"/>
          </a:xfrm>
          <a:prstGeom prst="rect">
            <a:avLst/>
          </a:prstGeom>
          <a:solidFill>
            <a:srgbClr val="EDF3B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ltGray">
          <a:xfrm>
            <a:off x="0" y="5018298"/>
            <a:ext cx="12801600" cy="4582906"/>
          </a:xfrm>
          <a:prstGeom prst="rect">
            <a:avLst/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7940" tIns="48969" rIns="97940" bIns="4896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80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7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00158" y="6090895"/>
            <a:ext cx="2571659" cy="2449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photo3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96259" y="-13602"/>
            <a:ext cx="5116104" cy="4879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petrolpump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2150" y="1"/>
            <a:ext cx="3789456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8" descr="picture4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3701012" cy="488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Titl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64460" y="8671469"/>
            <a:ext cx="6048160" cy="528361"/>
            <a:chOff x="1663" y="3142"/>
            <a:chExt cx="3109" cy="233"/>
          </a:xfrm>
        </p:grpSpPr>
        <p:sp>
          <p:nvSpPr>
            <p:cNvPr id="12" name="Document type"/>
            <p:cNvSpPr txBox="1">
              <a:spLocks noChangeArrowheads="1"/>
            </p:cNvSpPr>
            <p:nvPr/>
          </p:nvSpPr>
          <p:spPr bwMode="auto">
            <a:xfrm>
              <a:off x="1663" y="3142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" name="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71" dirty="0">
                  <a:solidFill>
                    <a:srgbClr val="DBE767"/>
                  </a:solidFill>
                  <a:latin typeface="Arial"/>
                  <a:cs typeface="Arial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10"/>
            </p:custDataLst>
          </p:nvPr>
        </p:nvSpPr>
        <p:spPr bwMode="auto">
          <a:xfrm>
            <a:off x="663535" y="5773427"/>
            <a:ext cx="8498289" cy="533223"/>
          </a:xfrm>
          <a:prstGeom prst="rect">
            <a:avLst/>
          </a:prstGeom>
        </p:spPr>
        <p:txBody>
          <a:bodyPr/>
          <a:lstStyle>
            <a:lvl1pPr>
              <a:defRPr sz="3465" b="0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  <p:custDataLst>
              <p:tags r:id="rId11"/>
            </p:custDataLst>
          </p:nvPr>
        </p:nvSpPr>
        <p:spPr bwMode="auto">
          <a:xfrm>
            <a:off x="663535" y="7379241"/>
            <a:ext cx="8498289" cy="226344"/>
          </a:xfrm>
        </p:spPr>
        <p:txBody>
          <a:bodyPr/>
          <a:lstStyle>
            <a:lvl1pPr>
              <a:defRPr sz="1471" baseline="0">
                <a:solidFill>
                  <a:schemeClr val="accent4"/>
                </a:solidFill>
                <a:latin typeface="Century Gothic" pitchFamily="34" charset="0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-13602"/>
            <a:ext cx="12801600" cy="9614802"/>
          </a:xfrm>
          <a:prstGeom prst="rect">
            <a:avLst/>
          </a:prstGeom>
          <a:noFill/>
          <a:ln w="76200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9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79046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7246" y="344685"/>
            <a:ext cx="12327110" cy="357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326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37246" y="960120"/>
            <a:ext cx="12326376" cy="1056508"/>
          </a:xfrm>
        </p:spPr>
        <p:txBody>
          <a:bodyPr/>
          <a:lstStyle>
            <a:lvl1pPr marL="369275" indent="-369275">
              <a:lnSpc>
                <a:spcPct val="114000"/>
              </a:lnSpc>
              <a:buFont typeface="Arial" panose="020B0604020202020204" pitchFamily="34" charset="0"/>
              <a:buChar char="•"/>
              <a:defRPr sz="2068">
                <a:latin typeface="Century Gothic" panose="020B0502020202020204" pitchFamily="34" charset="0"/>
              </a:defRPr>
            </a:lvl1pPr>
            <a:lvl4pPr marL="590840" indent="-225668">
              <a:lnSpc>
                <a:spcPct val="114000"/>
              </a:lnSpc>
              <a:defRPr sz="2068">
                <a:latin typeface="Century Gothic" panose="020B0502020202020204" pitchFamily="34" charset="0"/>
              </a:defRPr>
            </a:lvl4pPr>
            <a:lvl5pPr marL="802147" indent="-211308">
              <a:lnSpc>
                <a:spcPct val="114000"/>
              </a:lnSpc>
              <a:defRPr sz="2068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2979370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56762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246" y="33837"/>
            <a:ext cx="12327110" cy="307007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540649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658761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797737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ltGray">
          <a:xfrm>
            <a:off x="0" y="-2231"/>
            <a:ext cx="12801600" cy="87300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txBody>
          <a:bodyPr wrap="none" lIns="94762" tIns="47394" rIns="94762" bIns="473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891">
              <a:solidFill>
                <a:srgbClr val="FFFFFF"/>
              </a:solidFill>
            </a:endParaRPr>
          </a:p>
        </p:txBody>
      </p:sp>
      <p:sp>
        <p:nvSpPr>
          <p:cNvPr id="5" name="Title Placeholder 2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213433" y="13610"/>
            <a:ext cx="10988249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pic>
        <p:nvPicPr>
          <p:cNvPr id="6" name="Picture 5" descr="logo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8105" y="-31697"/>
            <a:ext cx="947675" cy="902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6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>
          <a:xfrm>
            <a:off x="237277" y="1053119"/>
            <a:ext cx="12440015" cy="775597"/>
          </a:xfrm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/>
          <a:lstStyle>
            <a:lvl1pPr>
              <a:buSzPct val="105000"/>
              <a:buFont typeface="Arial" pitchFamily="34" charset="0"/>
              <a:buChar char="•"/>
              <a:defRPr>
                <a:latin typeface="Century Gothic" pitchFamily="34" charset="0"/>
              </a:defRPr>
            </a:lvl1pPr>
            <a:lvl2pPr marL="838978" indent="-477516">
              <a:defRPr>
                <a:latin typeface="Century Gothic" pitchFamily="34" charset="0"/>
              </a:defRPr>
            </a:lvl2pPr>
            <a:lvl3pPr marL="1432558" indent="-593584">
              <a:defRPr baseline="0">
                <a:latin typeface="Century Gothic" pitchFamily="34" charset="0"/>
              </a:defRPr>
            </a:lvl3pPr>
            <a:lvl4pPr>
              <a:defRPr>
                <a:latin typeface="Century Gothic" pitchFamily="34" charset="0"/>
              </a:defRPr>
            </a:lvl4pPr>
            <a:lvl5pPr>
              <a:defRPr>
                <a:latin typeface="Century Gothic" pitchFamily="34" charset="0"/>
              </a:defRPr>
            </a:lvl5pPr>
            <a:lvl6pPr>
              <a:defRPr>
                <a:latin typeface="Century Gothic" pitchFamily="34" charset="0"/>
              </a:defRPr>
            </a:lvl6pPr>
            <a:lvl9pPr>
              <a:defRPr>
                <a:latin typeface="Century Gothic" pitchFamily="34" charset="0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  <p:custDataLst>
              <p:tags r:id="rId7"/>
            </p:custDataLst>
          </p:nvPr>
        </p:nvSpPr>
        <p:spPr>
          <a:xfrm>
            <a:off x="213360" y="433463"/>
            <a:ext cx="9494520" cy="258532"/>
          </a:xfrm>
        </p:spPr>
        <p:txBody>
          <a:bodyPr/>
          <a:lstStyle>
            <a:lvl1pPr>
              <a:defRPr b="1">
                <a:solidFill>
                  <a:schemeClr val="accent4">
                    <a:lumMod val="60000"/>
                    <a:lumOff val="40000"/>
                  </a:schemeClr>
                </a:solidFill>
                <a:latin typeface="Century Gothic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418649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9951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0" y="0"/>
            <a:ext cx="12801600" cy="9601200"/>
          </a:xfrm>
          <a:prstGeom prst="rect">
            <a:avLst/>
          </a:prstGeom>
          <a:noFill/>
          <a:ln w="82550">
            <a:solidFill>
              <a:schemeClr val="accent3">
                <a:lumMod val="65000"/>
                <a:alpha val="50000"/>
              </a:scheme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119640" tIns="59821" rIns="119640" bIns="59821" anchor="ctr"/>
          <a:lstStyle/>
          <a:p>
            <a:pPr defTabSz="1174971">
              <a:defRPr/>
            </a:pPr>
            <a:endParaRPr lang="en-US" sz="2584" b="1" dirty="0">
              <a:solidFill>
                <a:prstClr val="black"/>
              </a:solidFill>
              <a:latin typeface="Book Antiqua" pitchFamily="18" charset="0"/>
            </a:endParaRPr>
          </a:p>
        </p:txBody>
      </p:sp>
      <p:pic>
        <p:nvPicPr>
          <p:cNvPr id="7" name="Picture 64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0290" y="62230"/>
            <a:ext cx="1460182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82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38805" y="633173"/>
            <a:ext cx="8854440" cy="606146"/>
          </a:xfrm>
        </p:spPr>
        <p:txBody>
          <a:bodyPr lIns="89793" tIns="44110" rIns="89793" bIns="44110" anchor="ctr"/>
          <a:lstStyle>
            <a:lvl1pPr algn="ctr">
              <a:defRPr sz="336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091517" y="3288953"/>
            <a:ext cx="6949020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223910" y="2581994"/>
            <a:ext cx="6684458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188520" y="1855938"/>
            <a:ext cx="6755011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5"/>
          </p:nvPr>
        </p:nvSpPr>
        <p:spPr>
          <a:xfrm>
            <a:off x="0" y="0"/>
            <a:ext cx="0" cy="0"/>
          </a:xfrm>
        </p:spPr>
        <p:txBody>
          <a:bodyPr lIns="90734" tIns="45371" rIns="90734" bIns="45371"/>
          <a:lstStyle>
            <a:lvl1pPr defTabSz="1174971" eaLnBrk="1" fontAlgn="auto" hangingPunct="1">
              <a:spcBef>
                <a:spcPts val="0"/>
              </a:spcBef>
              <a:spcAft>
                <a:spcPts val="0"/>
              </a:spcAft>
              <a:defRPr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3601664"/>
      </p:ext>
    </p:extLst>
  </p:cSld>
  <p:clrMapOvr>
    <a:masterClrMapping/>
  </p:clrMapOvr>
  <p:transition spd="slow" advClick="0" advTm="200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1567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4580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15745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19163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2"/>
          <p:cNvGrpSpPr/>
          <p:nvPr/>
        </p:nvGrpSpPr>
        <p:grpSpPr>
          <a:xfrm>
            <a:off x="110" y="3802273"/>
            <a:ext cx="12801599" cy="1394803"/>
            <a:chOff x="0" y="0"/>
            <a:chExt cx="9906000" cy="1983179"/>
          </a:xfrm>
          <a:effectLst>
            <a:reflection blurRad="6350" stA="50000" endA="300" endPos="90000" dist="50800" dir="5400000" sy="-100000" algn="bl" rotWithShape="0"/>
          </a:effectLst>
        </p:grpSpPr>
        <p:grpSp>
          <p:nvGrpSpPr>
            <p:cNvPr id="7" name="Group 3"/>
            <p:cNvGrpSpPr/>
            <p:nvPr/>
          </p:nvGrpSpPr>
          <p:grpSpPr>
            <a:xfrm>
              <a:off x="0" y="0"/>
              <a:ext cx="6738938" cy="1983179"/>
              <a:chOff x="0" y="0"/>
              <a:chExt cx="6738938" cy="1983179"/>
            </a:xfrm>
          </p:grpSpPr>
          <p:pic>
            <p:nvPicPr>
              <p:cNvPr id="9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lum/>
              </a:blip>
              <a:srcRect/>
              <a:stretch>
                <a:fillRect/>
              </a:stretch>
            </p:blipFill>
            <p:spPr bwMode="auto">
              <a:xfrm>
                <a:off x="3632200" y="0"/>
                <a:ext cx="3106738" cy="1983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>
                <a:lum/>
              </a:blip>
              <a:srcRect/>
              <a:stretch>
                <a:fillRect/>
              </a:stretch>
            </p:blipFill>
            <p:spPr bwMode="auto">
              <a:xfrm>
                <a:off x="0" y="0"/>
                <a:ext cx="3632200" cy="19831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8" name="Picture 7"/>
            <p:cNvPicPr>
              <a:picLocks noChangeAspect="1" noChangeArrowheads="1"/>
            </p:cNvPicPr>
            <p:nvPr/>
          </p:nvPicPr>
          <p:blipFill>
            <a:blip r:embed="rId5" cstate="print">
              <a:lum/>
            </a:blip>
            <a:srcRect/>
            <a:stretch>
              <a:fillRect/>
            </a:stretch>
          </p:blipFill>
          <p:spPr bwMode="auto">
            <a:xfrm>
              <a:off x="6686550" y="0"/>
              <a:ext cx="3219450" cy="1983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0" y="0"/>
            <a:ext cx="12801600" cy="9601200"/>
          </a:xfrm>
          <a:prstGeom prst="rect">
            <a:avLst/>
          </a:prstGeom>
          <a:noFill/>
          <a:ln w="82550">
            <a:solidFill>
              <a:schemeClr val="accent3">
                <a:lumMod val="65000"/>
                <a:alpha val="50000"/>
              </a:schemeClr>
            </a:solidFill>
            <a:miter lim="800000"/>
            <a:headEnd type="none" w="sm" len="sm"/>
            <a:tailEnd type="none" w="sm" len="sm"/>
          </a:ln>
          <a:effectLst/>
        </p:spPr>
        <p:txBody>
          <a:bodyPr wrap="none" lIns="119640" tIns="59821" rIns="119640" bIns="59821" anchor="ctr"/>
          <a:lstStyle/>
          <a:p>
            <a:pPr defTabSz="1174971">
              <a:defRPr/>
            </a:pPr>
            <a:endParaRPr lang="en-US" sz="2584" b="1" dirty="0">
              <a:solidFill>
                <a:prstClr val="black"/>
              </a:solidFill>
              <a:latin typeface="Book Antiqua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46259" y="7466623"/>
            <a:ext cx="2839574" cy="995986"/>
          </a:xfrm>
          <a:prstGeom prst="rect">
            <a:avLst/>
          </a:prstGeom>
          <a:noFill/>
          <a:effectLst>
            <a:outerShdw blurRad="152400" dist="317500" dir="5400000" sx="90000" sy="-19000" rotWithShape="0">
              <a:prstClr val="black">
                <a:alpha val="15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119640" tIns="59821" rIns="119640" bIns="59821">
            <a:spAutoFit/>
          </a:bodyPr>
          <a:lstStyle/>
          <a:p>
            <a:pPr algn="ctr" defTabSz="1174971">
              <a:defRPr/>
            </a:pPr>
            <a:r>
              <a:rPr lang="en-US" sz="5687" b="1" dirty="0">
                <a:solidFill>
                  <a:prstClr val="black"/>
                </a:solidFill>
                <a:latin typeface="Century Gothic"/>
              </a:rPr>
              <a:t>N</a:t>
            </a:r>
            <a:r>
              <a:rPr lang="en-US" sz="5687" b="1" dirty="0">
                <a:solidFill>
                  <a:srgbClr val="FFC000"/>
                </a:solidFill>
                <a:latin typeface="Century Gothic"/>
              </a:rPr>
              <a:t>N</a:t>
            </a:r>
            <a:r>
              <a:rPr lang="en-US" sz="5687" b="1" dirty="0">
                <a:solidFill>
                  <a:srgbClr val="FF0000"/>
                </a:solidFill>
                <a:latin typeface="Century Gothic"/>
              </a:rPr>
              <a:t>P</a:t>
            </a:r>
            <a:r>
              <a:rPr lang="en-US" sz="5687" b="1" dirty="0">
                <a:solidFill>
                  <a:srgbClr val="003300"/>
                </a:solidFill>
                <a:latin typeface="Century Gothic"/>
              </a:rPr>
              <a:t>C</a:t>
            </a:r>
          </a:p>
        </p:txBody>
      </p:sp>
      <p:pic>
        <p:nvPicPr>
          <p:cNvPr id="16" name="Picture 70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420" y="8472170"/>
            <a:ext cx="1460182" cy="110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9821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138805" y="633173"/>
            <a:ext cx="8854440" cy="606146"/>
          </a:xfrm>
        </p:spPr>
        <p:txBody>
          <a:bodyPr lIns="89793" tIns="44110" rIns="89793" bIns="44110" anchor="ctr"/>
          <a:lstStyle>
            <a:lvl1pPr algn="ctr">
              <a:defRPr sz="336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3091517" y="3288947"/>
            <a:ext cx="6949020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3223907" y="2581994"/>
            <a:ext cx="6684458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188520" y="1855934"/>
            <a:ext cx="6755011" cy="358086"/>
          </a:xfrm>
        </p:spPr>
        <p:txBody>
          <a:bodyPr anchor="ctr"/>
          <a:lstStyle>
            <a:lvl1pPr algn="ctr">
              <a:buNone/>
              <a:defRPr sz="2327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Rectangle 8"/>
          <p:cNvSpPr>
            <a:spLocks noGrp="1" noChangeArrowheads="1"/>
          </p:cNvSpPr>
          <p:nvPr>
            <p:ph type="ftr" sz="quarter" idx="15"/>
          </p:nvPr>
        </p:nvSpPr>
        <p:spPr>
          <a:xfrm>
            <a:off x="0" y="0"/>
            <a:ext cx="0" cy="0"/>
          </a:xfrm>
        </p:spPr>
        <p:txBody>
          <a:bodyPr lIns="90734" tIns="45371" rIns="90734" bIns="45371"/>
          <a:lstStyle>
            <a:lvl1pPr defTabSz="1174971" eaLnBrk="0" fontAlgn="auto" hangingPunct="0">
              <a:spcBef>
                <a:spcPts val="0"/>
              </a:spcBef>
              <a:spcAft>
                <a:spcPts val="0"/>
              </a:spcAft>
              <a:defRPr dirty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241195"/>
      </p:ext>
    </p:extLst>
  </p:cSld>
  <p:clrMapOvr>
    <a:masterClrMapping/>
  </p:clrMapOvr>
  <p:transition spd="slow" advClick="0" advTm="200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13" Type="http://schemas.openxmlformats.org/officeDocument/2006/relationships/tags" Target="../tags/tag207.xml"/><Relationship Id="rId18" Type="http://schemas.openxmlformats.org/officeDocument/2006/relationships/tags" Target="../tags/tag212.xml"/><Relationship Id="rId26" Type="http://schemas.openxmlformats.org/officeDocument/2006/relationships/tags" Target="../tags/tag220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215.xml"/><Relationship Id="rId7" Type="http://schemas.openxmlformats.org/officeDocument/2006/relationships/vmlDrawing" Target="../drawings/vmlDrawing20.vml"/><Relationship Id="rId12" Type="http://schemas.openxmlformats.org/officeDocument/2006/relationships/tags" Target="../tags/tag206.xml"/><Relationship Id="rId17" Type="http://schemas.openxmlformats.org/officeDocument/2006/relationships/tags" Target="../tags/tag211.xml"/><Relationship Id="rId25" Type="http://schemas.openxmlformats.org/officeDocument/2006/relationships/tags" Target="../tags/tag219.xml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210.xml"/><Relationship Id="rId20" Type="http://schemas.openxmlformats.org/officeDocument/2006/relationships/tags" Target="../tags/tag214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10.xml"/><Relationship Id="rId11" Type="http://schemas.openxmlformats.org/officeDocument/2006/relationships/tags" Target="../tags/tag205.xml"/><Relationship Id="rId24" Type="http://schemas.openxmlformats.org/officeDocument/2006/relationships/tags" Target="../tags/tag218.xml"/><Relationship Id="rId5" Type="http://schemas.openxmlformats.org/officeDocument/2006/relationships/slideLayout" Target="../slideLayouts/slideLayout55.xml"/><Relationship Id="rId15" Type="http://schemas.openxmlformats.org/officeDocument/2006/relationships/tags" Target="../tags/tag209.xml"/><Relationship Id="rId23" Type="http://schemas.openxmlformats.org/officeDocument/2006/relationships/tags" Target="../tags/tag217.xml"/><Relationship Id="rId28" Type="http://schemas.openxmlformats.org/officeDocument/2006/relationships/oleObject" Target="../embeddings/oleObject20.bin"/><Relationship Id="rId10" Type="http://schemas.openxmlformats.org/officeDocument/2006/relationships/tags" Target="../tags/tag204.xml"/><Relationship Id="rId19" Type="http://schemas.openxmlformats.org/officeDocument/2006/relationships/tags" Target="../tags/tag213.xml"/><Relationship Id="rId31" Type="http://schemas.openxmlformats.org/officeDocument/2006/relationships/image" Target="../media/image25.png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203.xml"/><Relationship Id="rId14" Type="http://schemas.openxmlformats.org/officeDocument/2006/relationships/tags" Target="../tags/tag208.xml"/><Relationship Id="rId22" Type="http://schemas.openxmlformats.org/officeDocument/2006/relationships/tags" Target="../tags/tag216.xml"/><Relationship Id="rId27" Type="http://schemas.openxmlformats.org/officeDocument/2006/relationships/tags" Target="../tags/tag221.xml"/><Relationship Id="rId30" Type="http://schemas.openxmlformats.org/officeDocument/2006/relationships/image" Target="../media/image24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tags" Target="../tags/tag251.xml"/><Relationship Id="rId18" Type="http://schemas.openxmlformats.org/officeDocument/2006/relationships/tags" Target="../tags/tag256.xml"/><Relationship Id="rId26" Type="http://schemas.openxmlformats.org/officeDocument/2006/relationships/oleObject" Target="../embeddings/oleObject24.bin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259.xml"/><Relationship Id="rId7" Type="http://schemas.openxmlformats.org/officeDocument/2006/relationships/tags" Target="../tags/tag245.xml"/><Relationship Id="rId12" Type="http://schemas.openxmlformats.org/officeDocument/2006/relationships/tags" Target="../tags/tag250.xml"/><Relationship Id="rId17" Type="http://schemas.openxmlformats.org/officeDocument/2006/relationships/tags" Target="../tags/tag255.xml"/><Relationship Id="rId25" Type="http://schemas.openxmlformats.org/officeDocument/2006/relationships/tags" Target="../tags/tag263.xml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254.xml"/><Relationship Id="rId20" Type="http://schemas.openxmlformats.org/officeDocument/2006/relationships/tags" Target="../tags/tag258.xml"/><Relationship Id="rId29" Type="http://schemas.openxmlformats.org/officeDocument/2006/relationships/image" Target="../media/image25.png"/><Relationship Id="rId1" Type="http://schemas.openxmlformats.org/officeDocument/2006/relationships/slideLayout" Target="../slideLayouts/slideLayout56.x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24" Type="http://schemas.openxmlformats.org/officeDocument/2006/relationships/tags" Target="../tags/tag262.xml"/><Relationship Id="rId5" Type="http://schemas.openxmlformats.org/officeDocument/2006/relationships/vmlDrawing" Target="../drawings/vmlDrawing23.vml"/><Relationship Id="rId15" Type="http://schemas.openxmlformats.org/officeDocument/2006/relationships/tags" Target="../tags/tag253.xml"/><Relationship Id="rId23" Type="http://schemas.openxmlformats.org/officeDocument/2006/relationships/tags" Target="../tags/tag261.xml"/><Relationship Id="rId28" Type="http://schemas.openxmlformats.org/officeDocument/2006/relationships/image" Target="../media/image24.png"/><Relationship Id="rId10" Type="http://schemas.openxmlformats.org/officeDocument/2006/relationships/tags" Target="../tags/tag248.xml"/><Relationship Id="rId19" Type="http://schemas.openxmlformats.org/officeDocument/2006/relationships/tags" Target="../tags/tag257.xml"/><Relationship Id="rId4" Type="http://schemas.openxmlformats.org/officeDocument/2006/relationships/theme" Target="../theme/theme11.xml"/><Relationship Id="rId9" Type="http://schemas.openxmlformats.org/officeDocument/2006/relationships/tags" Target="../tags/tag247.xml"/><Relationship Id="rId14" Type="http://schemas.openxmlformats.org/officeDocument/2006/relationships/tags" Target="../tags/tag252.xml"/><Relationship Id="rId22" Type="http://schemas.openxmlformats.org/officeDocument/2006/relationships/tags" Target="../tags/tag260.xml"/><Relationship Id="rId27" Type="http://schemas.openxmlformats.org/officeDocument/2006/relationships/image" Target="../media/image3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68.xml"/><Relationship Id="rId13" Type="http://schemas.openxmlformats.org/officeDocument/2006/relationships/tags" Target="../tags/tag273.xml"/><Relationship Id="rId18" Type="http://schemas.openxmlformats.org/officeDocument/2006/relationships/tags" Target="../tags/tag278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281.xml"/><Relationship Id="rId7" Type="http://schemas.openxmlformats.org/officeDocument/2006/relationships/tags" Target="../tags/tag267.xml"/><Relationship Id="rId12" Type="http://schemas.openxmlformats.org/officeDocument/2006/relationships/tags" Target="../tags/tag272.xml"/><Relationship Id="rId17" Type="http://schemas.openxmlformats.org/officeDocument/2006/relationships/tags" Target="../tags/tag277.xml"/><Relationship Id="rId25" Type="http://schemas.openxmlformats.org/officeDocument/2006/relationships/oleObject" Target="../embeddings/oleObject27.bin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276.xml"/><Relationship Id="rId20" Type="http://schemas.openxmlformats.org/officeDocument/2006/relationships/tags" Target="../tags/tag280.xml"/><Relationship Id="rId1" Type="http://schemas.openxmlformats.org/officeDocument/2006/relationships/slideLayout" Target="../slideLayouts/slideLayout59.xml"/><Relationship Id="rId6" Type="http://schemas.openxmlformats.org/officeDocument/2006/relationships/tags" Target="../tags/tag266.xml"/><Relationship Id="rId11" Type="http://schemas.openxmlformats.org/officeDocument/2006/relationships/tags" Target="../tags/tag271.xml"/><Relationship Id="rId24" Type="http://schemas.openxmlformats.org/officeDocument/2006/relationships/tags" Target="../tags/tag284.xml"/><Relationship Id="rId5" Type="http://schemas.openxmlformats.org/officeDocument/2006/relationships/vmlDrawing" Target="../drawings/vmlDrawing26.vml"/><Relationship Id="rId15" Type="http://schemas.openxmlformats.org/officeDocument/2006/relationships/tags" Target="../tags/tag275.xml"/><Relationship Id="rId23" Type="http://schemas.openxmlformats.org/officeDocument/2006/relationships/tags" Target="../tags/tag283.xml"/><Relationship Id="rId28" Type="http://schemas.openxmlformats.org/officeDocument/2006/relationships/image" Target="../media/image25.png"/><Relationship Id="rId10" Type="http://schemas.openxmlformats.org/officeDocument/2006/relationships/tags" Target="../tags/tag270.xml"/><Relationship Id="rId19" Type="http://schemas.openxmlformats.org/officeDocument/2006/relationships/tags" Target="../tags/tag279.xml"/><Relationship Id="rId4" Type="http://schemas.openxmlformats.org/officeDocument/2006/relationships/theme" Target="../theme/theme12.xml"/><Relationship Id="rId9" Type="http://schemas.openxmlformats.org/officeDocument/2006/relationships/tags" Target="../tags/tag269.xml"/><Relationship Id="rId14" Type="http://schemas.openxmlformats.org/officeDocument/2006/relationships/tags" Target="../tags/tag274.xml"/><Relationship Id="rId22" Type="http://schemas.openxmlformats.org/officeDocument/2006/relationships/tags" Target="../tags/tag282.xml"/><Relationship Id="rId27" Type="http://schemas.openxmlformats.org/officeDocument/2006/relationships/image" Target="../media/image24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6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9.vml"/><Relationship Id="rId13" Type="http://schemas.openxmlformats.org/officeDocument/2006/relationships/tags" Target="../tags/tag291.xml"/><Relationship Id="rId18" Type="http://schemas.openxmlformats.org/officeDocument/2006/relationships/tags" Target="../tags/tag296.xml"/><Relationship Id="rId26" Type="http://schemas.openxmlformats.org/officeDocument/2006/relationships/tags" Target="../tags/tag304.xml"/><Relationship Id="rId3" Type="http://schemas.openxmlformats.org/officeDocument/2006/relationships/slideLayout" Target="../slideLayouts/slideLayout68.xml"/><Relationship Id="rId21" Type="http://schemas.openxmlformats.org/officeDocument/2006/relationships/tags" Target="../tags/tag299.xml"/><Relationship Id="rId7" Type="http://schemas.openxmlformats.org/officeDocument/2006/relationships/theme" Target="../theme/theme14.xml"/><Relationship Id="rId12" Type="http://schemas.openxmlformats.org/officeDocument/2006/relationships/tags" Target="../tags/tag290.xml"/><Relationship Id="rId17" Type="http://schemas.openxmlformats.org/officeDocument/2006/relationships/tags" Target="../tags/tag295.xml"/><Relationship Id="rId25" Type="http://schemas.openxmlformats.org/officeDocument/2006/relationships/tags" Target="../tags/tag303.xml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294.xml"/><Relationship Id="rId20" Type="http://schemas.openxmlformats.org/officeDocument/2006/relationships/tags" Target="../tags/tag298.xml"/><Relationship Id="rId29" Type="http://schemas.openxmlformats.org/officeDocument/2006/relationships/oleObject" Target="../embeddings/oleObject30.bin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tags" Target="../tags/tag289.xml"/><Relationship Id="rId24" Type="http://schemas.openxmlformats.org/officeDocument/2006/relationships/tags" Target="../tags/tag302.xml"/><Relationship Id="rId32" Type="http://schemas.openxmlformats.org/officeDocument/2006/relationships/image" Target="../media/image21.png"/><Relationship Id="rId5" Type="http://schemas.openxmlformats.org/officeDocument/2006/relationships/slideLayout" Target="../slideLayouts/slideLayout70.xml"/><Relationship Id="rId15" Type="http://schemas.openxmlformats.org/officeDocument/2006/relationships/tags" Target="../tags/tag293.xml"/><Relationship Id="rId23" Type="http://schemas.openxmlformats.org/officeDocument/2006/relationships/tags" Target="../tags/tag301.xml"/><Relationship Id="rId28" Type="http://schemas.openxmlformats.org/officeDocument/2006/relationships/tags" Target="../tags/tag306.xml"/><Relationship Id="rId10" Type="http://schemas.openxmlformats.org/officeDocument/2006/relationships/tags" Target="../tags/tag288.xml"/><Relationship Id="rId19" Type="http://schemas.openxmlformats.org/officeDocument/2006/relationships/tags" Target="../tags/tag297.xml"/><Relationship Id="rId31" Type="http://schemas.openxmlformats.org/officeDocument/2006/relationships/image" Target="../media/image15.png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287.xml"/><Relationship Id="rId14" Type="http://schemas.openxmlformats.org/officeDocument/2006/relationships/tags" Target="../tags/tag292.xml"/><Relationship Id="rId22" Type="http://schemas.openxmlformats.org/officeDocument/2006/relationships/tags" Target="../tags/tag300.xml"/><Relationship Id="rId27" Type="http://schemas.openxmlformats.org/officeDocument/2006/relationships/tags" Target="../tags/tag305.xml"/><Relationship Id="rId30" Type="http://schemas.openxmlformats.org/officeDocument/2006/relationships/image" Target="../media/image3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ags" Target="../tags/tag319.xml"/><Relationship Id="rId18" Type="http://schemas.openxmlformats.org/officeDocument/2006/relationships/tags" Target="../tags/tag324.xml"/><Relationship Id="rId26" Type="http://schemas.openxmlformats.org/officeDocument/2006/relationships/tags" Target="../tags/tag332.xml"/><Relationship Id="rId3" Type="http://schemas.openxmlformats.org/officeDocument/2006/relationships/slideLayout" Target="../slideLayouts/slideLayout74.xml"/><Relationship Id="rId21" Type="http://schemas.openxmlformats.org/officeDocument/2006/relationships/tags" Target="../tags/tag327.xml"/><Relationship Id="rId7" Type="http://schemas.openxmlformats.org/officeDocument/2006/relationships/slideLayout" Target="../slideLayouts/slideLayout78.xml"/><Relationship Id="rId12" Type="http://schemas.openxmlformats.org/officeDocument/2006/relationships/tags" Target="../tags/tag318.xml"/><Relationship Id="rId17" Type="http://schemas.openxmlformats.org/officeDocument/2006/relationships/tags" Target="../tags/tag323.xml"/><Relationship Id="rId25" Type="http://schemas.openxmlformats.org/officeDocument/2006/relationships/tags" Target="../tags/tag331.xml"/><Relationship Id="rId2" Type="http://schemas.openxmlformats.org/officeDocument/2006/relationships/slideLayout" Target="../slideLayouts/slideLayout73.xml"/><Relationship Id="rId16" Type="http://schemas.openxmlformats.org/officeDocument/2006/relationships/tags" Target="../tags/tag322.xml"/><Relationship Id="rId20" Type="http://schemas.openxmlformats.org/officeDocument/2006/relationships/tags" Target="../tags/tag326.xml"/><Relationship Id="rId29" Type="http://schemas.openxmlformats.org/officeDocument/2006/relationships/tags" Target="../tags/tag335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tags" Target="../tags/tag317.xml"/><Relationship Id="rId24" Type="http://schemas.openxmlformats.org/officeDocument/2006/relationships/tags" Target="../tags/tag330.xml"/><Relationship Id="rId32" Type="http://schemas.openxmlformats.org/officeDocument/2006/relationships/image" Target="../media/image28.png"/><Relationship Id="rId5" Type="http://schemas.openxmlformats.org/officeDocument/2006/relationships/slideLayout" Target="../slideLayouts/slideLayout76.xml"/><Relationship Id="rId15" Type="http://schemas.openxmlformats.org/officeDocument/2006/relationships/tags" Target="../tags/tag321.xml"/><Relationship Id="rId23" Type="http://schemas.openxmlformats.org/officeDocument/2006/relationships/tags" Target="../tags/tag329.xml"/><Relationship Id="rId28" Type="http://schemas.openxmlformats.org/officeDocument/2006/relationships/tags" Target="../tags/tag334.xml"/><Relationship Id="rId10" Type="http://schemas.openxmlformats.org/officeDocument/2006/relationships/vmlDrawing" Target="../drawings/vmlDrawing31.vml"/><Relationship Id="rId19" Type="http://schemas.openxmlformats.org/officeDocument/2006/relationships/tags" Target="../tags/tag325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75.xml"/><Relationship Id="rId9" Type="http://schemas.openxmlformats.org/officeDocument/2006/relationships/theme" Target="../theme/theme15.xml"/><Relationship Id="rId14" Type="http://schemas.openxmlformats.org/officeDocument/2006/relationships/tags" Target="../tags/tag320.xml"/><Relationship Id="rId22" Type="http://schemas.openxmlformats.org/officeDocument/2006/relationships/tags" Target="../tags/tag328.xml"/><Relationship Id="rId27" Type="http://schemas.openxmlformats.org/officeDocument/2006/relationships/tags" Target="../tags/tag333.xml"/><Relationship Id="rId30" Type="http://schemas.openxmlformats.org/officeDocument/2006/relationships/oleObject" Target="../embeddings/oleObject32.bin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1.png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8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5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9.xml"/><Relationship Id="rId12" Type="http://schemas.openxmlformats.org/officeDocument/2006/relationships/tags" Target="../tags/tag1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4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vmlDrawing" Target="../drawings/vmlDrawing1.vml"/><Relationship Id="rId24" Type="http://schemas.openxmlformats.org/officeDocument/2006/relationships/tags" Target="../tags/tag13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theme" Target="../theme/theme2.xml"/><Relationship Id="rId19" Type="http://schemas.openxmlformats.org/officeDocument/2006/relationships/tags" Target="../tags/tag8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3" Type="http://schemas.openxmlformats.org/officeDocument/2006/relationships/tags" Target="../tags/tag54.xml"/><Relationship Id="rId21" Type="http://schemas.openxmlformats.org/officeDocument/2006/relationships/tags" Target="../tags/tag72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" Type="http://schemas.openxmlformats.org/officeDocument/2006/relationships/vmlDrawing" Target="../drawings/vmlDrawing4.v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1" Type="http://schemas.openxmlformats.org/officeDocument/2006/relationships/theme" Target="../theme/theme3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23" Type="http://schemas.openxmlformats.org/officeDocument/2006/relationships/image" Target="../media/image3.emf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tags" Target="../tags/tag85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88.xml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83.xml"/><Relationship Id="rId20" Type="http://schemas.openxmlformats.org/officeDocument/2006/relationships/tags" Target="../tags/tag87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24" Type="http://schemas.openxmlformats.org/officeDocument/2006/relationships/tags" Target="../tags/tag91.xml"/><Relationship Id="rId5" Type="http://schemas.openxmlformats.org/officeDocument/2006/relationships/vmlDrawing" Target="../drawings/vmlDrawing5.vml"/><Relationship Id="rId15" Type="http://schemas.openxmlformats.org/officeDocument/2006/relationships/tags" Target="../tags/tag82.xml"/><Relationship Id="rId23" Type="http://schemas.openxmlformats.org/officeDocument/2006/relationships/tags" Target="../tags/tag90.xml"/><Relationship Id="rId10" Type="http://schemas.openxmlformats.org/officeDocument/2006/relationships/tags" Target="../tags/tag77.xml"/><Relationship Id="rId19" Type="http://schemas.openxmlformats.org/officeDocument/2006/relationships/tags" Target="../tags/tag86.xml"/><Relationship Id="rId4" Type="http://schemas.openxmlformats.org/officeDocument/2006/relationships/theme" Target="../theme/theme4.xml"/><Relationship Id="rId9" Type="http://schemas.openxmlformats.org/officeDocument/2006/relationships/tags" Target="../tags/tag76.xml"/><Relationship Id="rId14" Type="http://schemas.openxmlformats.org/officeDocument/2006/relationships/tags" Target="../tags/tag81.xml"/><Relationship Id="rId22" Type="http://schemas.openxmlformats.org/officeDocument/2006/relationships/tags" Target="../tags/tag8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102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image" Target="../media/image16.png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tags" Target="../tags/tag11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image" Target="../media/image15.png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10" Type="http://schemas.openxmlformats.org/officeDocument/2006/relationships/vmlDrawing" Target="../drawings/vmlDrawing6.vml"/><Relationship Id="rId19" Type="http://schemas.openxmlformats.org/officeDocument/2006/relationships/tags" Target="../tags/tag100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5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oleObject" Target="../embeddings/oleObject6.bin"/><Relationship Id="rId8" Type="http://schemas.openxmlformats.org/officeDocument/2006/relationships/slideLayout" Target="../slideLayouts/slideLayout2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26" Type="http://schemas.openxmlformats.org/officeDocument/2006/relationships/tags" Target="../tags/tag134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29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5" Type="http://schemas.openxmlformats.org/officeDocument/2006/relationships/tags" Target="../tags/tag133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29" Type="http://schemas.openxmlformats.org/officeDocument/2006/relationships/tags" Target="../tags/tag137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19.xml"/><Relationship Id="rId24" Type="http://schemas.openxmlformats.org/officeDocument/2006/relationships/tags" Target="../tags/tag132.xml"/><Relationship Id="rId32" Type="http://schemas.openxmlformats.org/officeDocument/2006/relationships/image" Target="../media/image15.png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28" Type="http://schemas.openxmlformats.org/officeDocument/2006/relationships/tags" Target="../tags/tag136.xml"/><Relationship Id="rId10" Type="http://schemas.openxmlformats.org/officeDocument/2006/relationships/vmlDrawing" Target="../drawings/vmlDrawing11.vml"/><Relationship Id="rId19" Type="http://schemas.openxmlformats.org/officeDocument/2006/relationships/tags" Target="../tags/tag127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6.xml"/><Relationship Id="rId14" Type="http://schemas.openxmlformats.org/officeDocument/2006/relationships/tags" Target="../tags/tag122.xml"/><Relationship Id="rId22" Type="http://schemas.openxmlformats.org/officeDocument/2006/relationships/tags" Target="../tags/tag130.xml"/><Relationship Id="rId27" Type="http://schemas.openxmlformats.org/officeDocument/2006/relationships/tags" Target="../tags/tag135.xml"/><Relationship Id="rId30" Type="http://schemas.openxmlformats.org/officeDocument/2006/relationships/oleObject" Target="../embeddings/oleObject1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26" Type="http://schemas.openxmlformats.org/officeDocument/2006/relationships/tags" Target="../tags/tag169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164.xml"/><Relationship Id="rId7" Type="http://schemas.openxmlformats.org/officeDocument/2006/relationships/vmlDrawing" Target="../drawings/vmlDrawing16.vml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25" Type="http://schemas.openxmlformats.org/officeDocument/2006/relationships/tags" Target="../tags/tag168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59.xml"/><Relationship Id="rId20" Type="http://schemas.openxmlformats.org/officeDocument/2006/relationships/tags" Target="../tags/tag163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31.xml"/><Relationship Id="rId6" Type="http://schemas.openxmlformats.org/officeDocument/2006/relationships/theme" Target="../theme/theme7.xml"/><Relationship Id="rId11" Type="http://schemas.openxmlformats.org/officeDocument/2006/relationships/tags" Target="../tags/tag154.xml"/><Relationship Id="rId24" Type="http://schemas.openxmlformats.org/officeDocument/2006/relationships/tags" Target="../tags/tag167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158.xml"/><Relationship Id="rId23" Type="http://schemas.openxmlformats.org/officeDocument/2006/relationships/tags" Target="../tags/tag166.xml"/><Relationship Id="rId28" Type="http://schemas.openxmlformats.org/officeDocument/2006/relationships/oleObject" Target="../embeddings/oleObject16.bin"/><Relationship Id="rId10" Type="http://schemas.openxmlformats.org/officeDocument/2006/relationships/tags" Target="../tags/tag153.xml"/><Relationship Id="rId19" Type="http://schemas.openxmlformats.org/officeDocument/2006/relationships/tags" Target="../tags/tag162.xml"/><Relationship Id="rId31" Type="http://schemas.openxmlformats.org/officeDocument/2006/relationships/image" Target="../media/image21.png"/><Relationship Id="rId4" Type="http://schemas.openxmlformats.org/officeDocument/2006/relationships/slideLayout" Target="../slideLayouts/slideLayout34.xml"/><Relationship Id="rId9" Type="http://schemas.openxmlformats.org/officeDocument/2006/relationships/tags" Target="../tags/tag152.xml"/><Relationship Id="rId14" Type="http://schemas.openxmlformats.org/officeDocument/2006/relationships/tags" Target="../tags/tag157.xml"/><Relationship Id="rId22" Type="http://schemas.openxmlformats.org/officeDocument/2006/relationships/tags" Target="../tags/tag165.xml"/><Relationship Id="rId27" Type="http://schemas.openxmlformats.org/officeDocument/2006/relationships/tags" Target="../tags/tag170.xml"/><Relationship Id="rId30" Type="http://schemas.openxmlformats.org/officeDocument/2006/relationships/image" Target="../media/image15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8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26" Type="http://schemas.openxmlformats.org/officeDocument/2006/relationships/tags" Target="../tags/tag195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190.xml"/><Relationship Id="rId34" Type="http://schemas.openxmlformats.org/officeDocument/2006/relationships/image" Target="../media/image21.png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tags" Target="../tags/tag194.xml"/><Relationship Id="rId33" Type="http://schemas.openxmlformats.org/officeDocument/2006/relationships/image" Target="../media/image15.png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185.xml"/><Relationship Id="rId20" Type="http://schemas.openxmlformats.org/officeDocument/2006/relationships/tags" Target="../tags/tag189.xml"/><Relationship Id="rId29" Type="http://schemas.openxmlformats.org/officeDocument/2006/relationships/tags" Target="../tags/tag198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vmlDrawing" Target="../drawings/vmlDrawing18.vml"/><Relationship Id="rId24" Type="http://schemas.openxmlformats.org/officeDocument/2006/relationships/tags" Target="../tags/tag193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46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28" Type="http://schemas.openxmlformats.org/officeDocument/2006/relationships/tags" Target="../tags/tag197.xml"/><Relationship Id="rId10" Type="http://schemas.openxmlformats.org/officeDocument/2006/relationships/theme" Target="../theme/theme9.xml"/><Relationship Id="rId19" Type="http://schemas.openxmlformats.org/officeDocument/2006/relationships/tags" Target="../tags/tag188.xml"/><Relationship Id="rId31" Type="http://schemas.openxmlformats.org/officeDocument/2006/relationships/oleObject" Target="../embeddings/oleObject18.bin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ags" Target="../tags/tag183.xml"/><Relationship Id="rId22" Type="http://schemas.openxmlformats.org/officeDocument/2006/relationships/tags" Target="../tags/tag191.xml"/><Relationship Id="rId27" Type="http://schemas.openxmlformats.org/officeDocument/2006/relationships/tags" Target="../tags/tag196.xml"/><Relationship Id="rId30" Type="http://schemas.openxmlformats.org/officeDocument/2006/relationships/tags" Target="../tags/tag199.xml"/><Relationship Id="rId8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Google Shape;11;p1">
            <a:extLst>
              <a:ext uri="{FF2B5EF4-FFF2-40B4-BE49-F238E27FC236}">
                <a16:creationId xmlns:a16="http://schemas.microsoft.com/office/drawing/2014/main" id="{F6B3DC8E-D7EE-4EC5-BA71-248B62DF32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9864" y="328614"/>
            <a:ext cx="123110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grpSp>
        <p:nvGrpSpPr>
          <p:cNvPr id="9220" name="Google Shape;12;p1">
            <a:extLst>
              <a:ext uri="{FF2B5EF4-FFF2-40B4-BE49-F238E27FC236}">
                <a16:creationId xmlns:a16="http://schemas.microsoft.com/office/drawing/2014/main" id="{F9B34B23-0FEF-4A35-BA5F-04443E0CB6F7}"/>
              </a:ext>
            </a:extLst>
          </p:cNvPr>
          <p:cNvGrpSpPr>
            <a:grpSpLocks/>
          </p:cNvGrpSpPr>
          <p:nvPr/>
        </p:nvGrpSpPr>
        <p:grpSpPr bwMode="auto">
          <a:xfrm>
            <a:off x="12069764" y="8983292"/>
            <a:ext cx="731836" cy="676276"/>
            <a:chOff x="4814" y="3472"/>
            <a:chExt cx="826" cy="762"/>
          </a:xfrm>
        </p:grpSpPr>
        <p:pic>
          <p:nvPicPr>
            <p:cNvPr id="9221" name="Google Shape;13;p1" descr="green">
              <a:extLst>
                <a:ext uri="{FF2B5EF4-FFF2-40B4-BE49-F238E27FC236}">
                  <a16:creationId xmlns:a16="http://schemas.microsoft.com/office/drawing/2014/main" id="{F7EC3A89-16C7-4785-8D19-DD65000C479B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4" y="3472"/>
              <a:ext cx="826" cy="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2" name="Google Shape;14;p1" descr="Temp%20NPDC%20Logo">
              <a:extLst>
                <a:ext uri="{FF2B5EF4-FFF2-40B4-BE49-F238E27FC236}">
                  <a16:creationId xmlns:a16="http://schemas.microsoft.com/office/drawing/2014/main" id="{160E4E38-BFAD-4631-922A-00B584B0370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7"/>
            <a:stretch>
              <a:fillRect/>
            </a:stretch>
          </p:blipFill>
          <p:spPr bwMode="auto">
            <a:xfrm>
              <a:off x="5112" y="3688"/>
              <a:ext cx="436" cy="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9878054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278" r:id="rId1"/>
    <p:sldLayoutId id="214748428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1" hidden="1">
            <a:extLst>
              <a:ext uri="{FF2B5EF4-FFF2-40B4-BE49-F238E27FC236}">
                <a16:creationId xmlns:a16="http://schemas.microsoft.com/office/drawing/2014/main" id="{4222FFA0-4A18-43F8-8902-60E7D871530A}"/>
              </a:ext>
            </a:extLst>
          </p:cNvPr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42" name="Object 1" hidden="1">
                        <a:extLst>
                          <a:ext uri="{FF2B5EF4-FFF2-40B4-BE49-F238E27FC236}">
                            <a16:creationId xmlns:a16="http://schemas.microsoft.com/office/drawing/2014/main" id="{4222FFA0-4A18-43F8-8902-60E7D87153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0F792D2-40B3-496F-849C-70EE61F0B43D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2036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0244" name="Picture 19" descr="green">
            <a:extLst>
              <a:ext uri="{FF2B5EF4-FFF2-40B4-BE49-F238E27FC236}">
                <a16:creationId xmlns:a16="http://schemas.microsoft.com/office/drawing/2014/main" id="{6838816D-AF09-416B-809B-998DB2CE9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056507" y="8643304"/>
            <a:ext cx="745093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20" descr="logo">
            <a:extLst>
              <a:ext uri="{FF2B5EF4-FFF2-40B4-BE49-F238E27FC236}">
                <a16:creationId xmlns:a16="http://schemas.microsoft.com/office/drawing/2014/main" id="{BBA2624B-802A-403D-B2D2-D521AA02D8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233197" y="8892224"/>
            <a:ext cx="516731" cy="626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TextBox 2">
            <a:extLst>
              <a:ext uri="{FF2B5EF4-FFF2-40B4-BE49-F238E27FC236}">
                <a16:creationId xmlns:a16="http://schemas.microsoft.com/office/drawing/2014/main" id="{7E436B03-1F08-4EF6-868D-7F420CB1ECC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41480" y="9318944"/>
            <a:ext cx="165110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1C1B6734-B142-489A-9016-E44FDD052E39}" type="slidenum">
              <a:rPr lang="en-ZA" altLang="x-none" sz="1050">
                <a:solidFill>
                  <a:srgbClr val="000000"/>
                </a:solidFill>
              </a:rPr>
              <a:pPr eaLnBrk="1" hangingPunct="1"/>
              <a:t>‹#›</a:t>
            </a:fld>
            <a:endParaRPr lang="en-ZA" altLang="x-none" sz="1050">
              <a:solidFill>
                <a:srgbClr val="000000"/>
              </a:solidFill>
            </a:endParaRPr>
          </a:p>
        </p:txBody>
      </p:sp>
      <p:sp>
        <p:nvSpPr>
          <p:cNvPr id="10247" name="Rectangle 286">
            <a:extLst>
              <a:ext uri="{FF2B5EF4-FFF2-40B4-BE49-F238E27FC236}">
                <a16:creationId xmlns:a16="http://schemas.microsoft.com/office/drawing/2014/main" id="{4F15DF8F-C695-46AB-B89D-656958BC32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260" y="2787016"/>
            <a:ext cx="6145768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x-none"/>
              <a:t>Edit Master text styles</a:t>
            </a:r>
          </a:p>
          <a:p>
            <a:pPr lvl="1"/>
            <a:r>
              <a:rPr lang="en-US" altLang="x-none"/>
              <a:t>Second level</a:t>
            </a:r>
          </a:p>
          <a:p>
            <a:pPr lvl="2"/>
            <a:r>
              <a:rPr lang="en-US" altLang="x-none"/>
              <a:t>Third level</a:t>
            </a:r>
          </a:p>
          <a:p>
            <a:pPr lvl="3"/>
            <a:r>
              <a:rPr lang="en-US" altLang="x-none"/>
              <a:t>Fourth level</a:t>
            </a:r>
          </a:p>
          <a:p>
            <a:pPr lvl="4"/>
            <a:r>
              <a:rPr lang="en-US" altLang="x-none"/>
              <a:t>Fifth level</a:t>
            </a:r>
          </a:p>
        </p:txBody>
      </p:sp>
      <p:sp>
        <p:nvSpPr>
          <p:cNvPr id="10248" name="Title Placeholder 2">
            <a:extLst>
              <a:ext uri="{FF2B5EF4-FFF2-40B4-BE49-F238E27FC236}">
                <a16:creationId xmlns:a16="http://schemas.microsoft.com/office/drawing/2014/main" id="{E7706A29-4EDA-49C1-A15D-2BC21A04604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6696" y="344488"/>
            <a:ext cx="12328208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x-none"/>
              <a:t>Click to edit Master title style</a:t>
            </a:r>
          </a:p>
        </p:txBody>
      </p:sp>
      <p:sp>
        <p:nvSpPr>
          <p:cNvPr id="1029" name="1. On-page tracker" hidden="1">
            <a:extLst>
              <a:ext uri="{FF2B5EF4-FFF2-40B4-BE49-F238E27FC236}">
                <a16:creationId xmlns:a16="http://schemas.microsoft.com/office/drawing/2014/main" id="{B79A68AB-63B6-4FF1-A27A-32B93BDC84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696" y="37783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99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CCE2637B-CC9A-4B1A-B3C3-E05343E7FA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696" y="760095"/>
            <a:ext cx="12328208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14">
                <a:solidFill>
                  <a:srgbClr val="808080"/>
                </a:solidFill>
                <a:latin typeface="Arial"/>
                <a:cs typeface="Arial" charset="0"/>
              </a:rPr>
              <a:t>Subtitle</a:t>
            </a:r>
          </a:p>
        </p:txBody>
      </p:sp>
      <p:sp>
        <p:nvSpPr>
          <p:cNvPr id="13" name="4. Footnote" hidden="1">
            <a:extLst>
              <a:ext uri="{FF2B5EF4-FFF2-40B4-BE49-F238E27FC236}">
                <a16:creationId xmlns:a16="http://schemas.microsoft.com/office/drawing/2014/main" id="{78BD71F9-ECD5-47E3-A6AF-0B26488935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6697" y="8943017"/>
            <a:ext cx="1048464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71">
                <a:solidFill>
                  <a:srgbClr val="000000"/>
                </a:solidFill>
                <a:latin typeface="Arial"/>
                <a:cs typeface="Arial" charset="0"/>
              </a:rPr>
              <a:t>1 Footnote</a:t>
            </a:r>
          </a:p>
        </p:txBody>
      </p:sp>
      <p:sp>
        <p:nvSpPr>
          <p:cNvPr id="1080" name="5. Source" hidden="1">
            <a:extLst>
              <a:ext uri="{FF2B5EF4-FFF2-40B4-BE49-F238E27FC236}">
                <a16:creationId xmlns:a16="http://schemas.microsoft.com/office/drawing/2014/main" id="{62B2E2F7-7A78-4B6B-9351-4BF889125A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696" y="9245277"/>
            <a:ext cx="10007918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503382" indent="-503382" defTabSz="959147">
              <a:tabLst>
                <a:tab pos="499981" algn="l"/>
              </a:tabLst>
              <a:defRPr/>
            </a:pPr>
            <a:r>
              <a:rPr lang="en-US" sz="1071">
                <a:solidFill>
                  <a:srgbClr val="000000"/>
                </a:solidFill>
                <a:cs typeface="Arial" charset="0"/>
              </a:rPr>
              <a:t>Source: Source</a:t>
            </a:r>
          </a:p>
        </p:txBody>
      </p:sp>
      <p:grpSp>
        <p:nvGrpSpPr>
          <p:cNvPr id="10253" name="ACET" hidden="1">
            <a:extLst>
              <a:ext uri="{FF2B5EF4-FFF2-40B4-BE49-F238E27FC236}">
                <a16:creationId xmlns:a16="http://schemas.microsoft.com/office/drawing/2014/main" id="{665BBABA-778D-4A20-AC33-CAA4483826C0}"/>
              </a:ext>
            </a:extLst>
          </p:cNvPr>
          <p:cNvGrpSpPr>
            <a:grpSpLocks/>
          </p:cNvGrpSpPr>
          <p:nvPr/>
        </p:nvGrpSpPr>
        <p:grpSpPr bwMode="auto">
          <a:xfrm>
            <a:off x="2075261" y="2152513"/>
            <a:ext cx="6090761" cy="545603"/>
            <a:chOff x="915" y="789"/>
            <a:chExt cx="2686" cy="241"/>
          </a:xfrm>
        </p:grpSpPr>
        <p:cxnSp>
          <p:nvCxnSpPr>
            <p:cNvPr id="10298" name="AutoShape 249">
              <a:extLst>
                <a:ext uri="{FF2B5EF4-FFF2-40B4-BE49-F238E27FC236}">
                  <a16:creationId xmlns:a16="http://schemas.microsoft.com/office/drawing/2014/main" id="{30DCDD2A-7EB8-4901-8FCF-40033116BF47}"/>
                </a:ext>
              </a:extLst>
            </p:cNvPr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>
              <a:extLst>
                <a:ext uri="{FF2B5EF4-FFF2-40B4-BE49-F238E27FC236}">
                  <a16:creationId xmlns:a16="http://schemas.microsoft.com/office/drawing/2014/main" id="{7429DA8B-F20D-4089-AD83-E31D28BF27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89"/>
              <a:ext cx="2686" cy="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en-US" sz="1714" b="1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>
                <a:defRPr/>
              </a:pPr>
              <a:r>
                <a:rPr lang="en-US" sz="1714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0254" name="LegendBoxes" hidden="1">
            <a:extLst>
              <a:ext uri="{FF2B5EF4-FFF2-40B4-BE49-F238E27FC236}">
                <a16:creationId xmlns:a16="http://schemas.microsoft.com/office/drawing/2014/main" id="{27909705-CA76-4F1F-BCBE-5F5AB706F27D}"/>
              </a:ext>
            </a:extLst>
          </p:cNvPr>
          <p:cNvGrpSpPr>
            <a:grpSpLocks/>
          </p:cNvGrpSpPr>
          <p:nvPr/>
        </p:nvGrpSpPr>
        <p:grpSpPr bwMode="auto">
          <a:xfrm>
            <a:off x="11473106" y="411164"/>
            <a:ext cx="911314" cy="1404280"/>
            <a:chOff x="4936" y="176"/>
            <a:chExt cx="402" cy="620"/>
          </a:xfrm>
        </p:grpSpPr>
        <p:sp>
          <p:nvSpPr>
            <p:cNvPr id="1069" name="Legend1">
              <a:extLst>
                <a:ext uri="{FF2B5EF4-FFF2-40B4-BE49-F238E27FC236}">
                  <a16:creationId xmlns:a16="http://schemas.microsoft.com/office/drawing/2014/main" id="{697B260E-71AC-423C-8AF4-A65BC2E016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>
              <a:extLst>
                <a:ext uri="{FF2B5EF4-FFF2-40B4-BE49-F238E27FC236}">
                  <a16:creationId xmlns:a16="http://schemas.microsoft.com/office/drawing/2014/main" id="{3FCE60AE-2625-403E-B374-3996B8CB3D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1" name="Legend2">
              <a:extLst>
                <a:ext uri="{FF2B5EF4-FFF2-40B4-BE49-F238E27FC236}">
                  <a16:creationId xmlns:a16="http://schemas.microsoft.com/office/drawing/2014/main" id="{5DD838D5-9706-454D-8A89-56AE81F183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>
              <a:extLst>
                <a:ext uri="{FF2B5EF4-FFF2-40B4-BE49-F238E27FC236}">
                  <a16:creationId xmlns:a16="http://schemas.microsoft.com/office/drawing/2014/main" id="{6730E843-1AFE-46D4-ACD4-EB83EB303C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3" name="Legend3">
              <a:extLst>
                <a:ext uri="{FF2B5EF4-FFF2-40B4-BE49-F238E27FC236}">
                  <a16:creationId xmlns:a16="http://schemas.microsoft.com/office/drawing/2014/main" id="{FCE7C331-67FE-4BDC-9E81-9248CB6DB5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>
              <a:extLst>
                <a:ext uri="{FF2B5EF4-FFF2-40B4-BE49-F238E27FC236}">
                  <a16:creationId xmlns:a16="http://schemas.microsoft.com/office/drawing/2014/main" id="{ECCBC487-56FA-4C97-B797-0C662D78D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5" name="Legend4">
              <a:extLst>
                <a:ext uri="{FF2B5EF4-FFF2-40B4-BE49-F238E27FC236}">
                  <a16:creationId xmlns:a16="http://schemas.microsoft.com/office/drawing/2014/main" id="{34DEC208-70BC-4209-97AF-EC08C7780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>
              <a:extLst>
                <a:ext uri="{FF2B5EF4-FFF2-40B4-BE49-F238E27FC236}">
                  <a16:creationId xmlns:a16="http://schemas.microsoft.com/office/drawing/2014/main" id="{1AC2482D-946C-4929-A854-6A6EB39FC5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255" name="LegendLines" hidden="1">
            <a:extLst>
              <a:ext uri="{FF2B5EF4-FFF2-40B4-BE49-F238E27FC236}">
                <a16:creationId xmlns:a16="http://schemas.microsoft.com/office/drawing/2014/main" id="{D5966B2D-B716-455E-A90B-C9E17EE39D4C}"/>
              </a:ext>
            </a:extLst>
          </p:cNvPr>
          <p:cNvGrpSpPr>
            <a:grpSpLocks/>
          </p:cNvGrpSpPr>
          <p:nvPr/>
        </p:nvGrpSpPr>
        <p:grpSpPr bwMode="auto">
          <a:xfrm>
            <a:off x="11033044" y="420053"/>
            <a:ext cx="1351370" cy="976638"/>
            <a:chOff x="4750" y="176"/>
            <a:chExt cx="596" cy="431"/>
          </a:xfrm>
        </p:grpSpPr>
        <p:sp>
          <p:nvSpPr>
            <p:cNvPr id="33" name="LineLegend1">
              <a:extLst>
                <a:ext uri="{FF2B5EF4-FFF2-40B4-BE49-F238E27FC236}">
                  <a16:creationId xmlns:a16="http://schemas.microsoft.com/office/drawing/2014/main" id="{44DC1AFE-9120-424D-98DD-81B8B05EBF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>
              <a:extLst>
                <a:ext uri="{FF2B5EF4-FFF2-40B4-BE49-F238E27FC236}">
                  <a16:creationId xmlns:a16="http://schemas.microsoft.com/office/drawing/2014/main" id="{5B0A506A-28F1-4728-B655-1BAA91187BB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>
              <a:extLst>
                <a:ext uri="{FF2B5EF4-FFF2-40B4-BE49-F238E27FC236}">
                  <a16:creationId xmlns:a16="http://schemas.microsoft.com/office/drawing/2014/main" id="{26A6C03D-67B2-4924-92DD-55D6D1EC57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6" name="Legend1">
              <a:extLst>
                <a:ext uri="{FF2B5EF4-FFF2-40B4-BE49-F238E27FC236}">
                  <a16:creationId xmlns:a16="http://schemas.microsoft.com/office/drawing/2014/main" id="{2E00D91D-8CBA-4EE9-BCE9-7295CB8232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7" name="Legend2">
              <a:extLst>
                <a:ext uri="{FF2B5EF4-FFF2-40B4-BE49-F238E27FC236}">
                  <a16:creationId xmlns:a16="http://schemas.microsoft.com/office/drawing/2014/main" id="{9A8D9F40-7937-4390-B7CF-815380A415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8" name="Legend3">
              <a:extLst>
                <a:ext uri="{FF2B5EF4-FFF2-40B4-BE49-F238E27FC236}">
                  <a16:creationId xmlns:a16="http://schemas.microsoft.com/office/drawing/2014/main" id="{B93EF844-B7EF-4635-B782-1EC051AEE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10256" name="Sticker" hidden="1">
            <a:extLst>
              <a:ext uri="{FF2B5EF4-FFF2-40B4-BE49-F238E27FC236}">
                <a16:creationId xmlns:a16="http://schemas.microsoft.com/office/drawing/2014/main" id="{96AD5F86-4637-419A-BFAD-AC8082841D42}"/>
              </a:ext>
            </a:extLst>
          </p:cNvPr>
          <p:cNvGrpSpPr>
            <a:grpSpLocks/>
          </p:cNvGrpSpPr>
          <p:nvPr/>
        </p:nvGrpSpPr>
        <p:grpSpPr bwMode="auto">
          <a:xfrm>
            <a:off x="11419649" y="428942"/>
            <a:ext cx="1145249" cy="225445"/>
            <a:chOff x="7938831" y="285750"/>
            <a:chExt cx="801944" cy="157694"/>
          </a:xfrm>
        </p:grpSpPr>
        <p:sp>
          <p:nvSpPr>
            <p:cNvPr id="1060" name="StickerRectangle">
              <a:extLst>
                <a:ext uri="{FF2B5EF4-FFF2-40B4-BE49-F238E27FC236}">
                  <a16:creationId xmlns:a16="http://schemas.microsoft.com/office/drawing/2014/main" id="{149C1977-6DED-4A0D-BA4E-3597F30E2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8831" y="285750"/>
              <a:ext cx="801944" cy="1576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10282" name="AutoShape 31">
              <a:extLst>
                <a:ext uri="{FF2B5EF4-FFF2-40B4-BE49-F238E27FC236}">
                  <a16:creationId xmlns:a16="http://schemas.microsoft.com/office/drawing/2014/main" id="{220E35D5-0312-4188-B38E-358DE8B8AD70}"/>
                </a:ext>
              </a:extLst>
            </p:cNvPr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38831" y="285750"/>
              <a:ext cx="0" cy="15769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283" name="AutoShape 32">
              <a:extLst>
                <a:ext uri="{FF2B5EF4-FFF2-40B4-BE49-F238E27FC236}">
                  <a16:creationId xmlns:a16="http://schemas.microsoft.com/office/drawing/2014/main" id="{606957AF-17D7-4DFE-8542-9B8768222562}"/>
                </a:ext>
              </a:extLst>
            </p:cNvPr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38831" y="443444"/>
              <a:ext cx="80194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257" name="LegendMoons" hidden="1">
            <a:extLst>
              <a:ext uri="{FF2B5EF4-FFF2-40B4-BE49-F238E27FC236}">
                <a16:creationId xmlns:a16="http://schemas.microsoft.com/office/drawing/2014/main" id="{43C97507-DE31-4466-84B5-DC9905AD7AAD}"/>
              </a:ext>
            </a:extLst>
          </p:cNvPr>
          <p:cNvGrpSpPr>
            <a:grpSpLocks/>
          </p:cNvGrpSpPr>
          <p:nvPr/>
        </p:nvGrpSpPr>
        <p:grpSpPr bwMode="auto">
          <a:xfrm>
            <a:off x="11378085" y="411163"/>
            <a:ext cx="1006617" cy="1864677"/>
            <a:chOff x="6655594" y="273840"/>
            <a:chExt cx="704714" cy="1306516"/>
          </a:xfrm>
        </p:grpSpPr>
        <p:grpSp>
          <p:nvGrpSpPr>
            <p:cNvPr id="10261" name="MoonLegend1">
              <a:extLst>
                <a:ext uri="{FF2B5EF4-FFF2-40B4-BE49-F238E27FC236}">
                  <a16:creationId xmlns:a16="http://schemas.microsoft.com/office/drawing/2014/main" id="{2A9ECC11-1F0A-4AA9-B42A-4967CA4A7B23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>
                <a:extLst>
                  <a:ext uri="{FF2B5EF4-FFF2-40B4-BE49-F238E27FC236}">
                    <a16:creationId xmlns:a16="http://schemas.microsoft.com/office/drawing/2014/main" id="{C35BAB6D-8F0C-438B-AE0C-5E9C103F9CE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>
                <a:extLst>
                  <a:ext uri="{FF2B5EF4-FFF2-40B4-BE49-F238E27FC236}">
                    <a16:creationId xmlns:a16="http://schemas.microsoft.com/office/drawing/2014/main" id="{9BA0E5C1-9859-4B79-B818-7EC1B5D5FD69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262" name="MoonLegend2">
              <a:extLst>
                <a:ext uri="{FF2B5EF4-FFF2-40B4-BE49-F238E27FC236}">
                  <a16:creationId xmlns:a16="http://schemas.microsoft.com/office/drawing/2014/main" id="{DEDA212F-611F-46F8-99C8-A800079FC37D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>
                <a:extLst>
                  <a:ext uri="{FF2B5EF4-FFF2-40B4-BE49-F238E27FC236}">
                    <a16:creationId xmlns:a16="http://schemas.microsoft.com/office/drawing/2014/main" id="{A1CFEF44-BF57-4CE8-92F2-AFEE9D2AEF7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>
                <a:extLst>
                  <a:ext uri="{FF2B5EF4-FFF2-40B4-BE49-F238E27FC236}">
                    <a16:creationId xmlns:a16="http://schemas.microsoft.com/office/drawing/2014/main" id="{4603C7BE-E2AF-4F36-9501-38AE44EF4FCA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263" name="MoonLegend4">
              <a:extLst>
                <a:ext uri="{FF2B5EF4-FFF2-40B4-BE49-F238E27FC236}">
                  <a16:creationId xmlns:a16="http://schemas.microsoft.com/office/drawing/2014/main" id="{1D58A9E0-166E-4107-B6EF-61155EB23B7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>
                <a:extLst>
                  <a:ext uri="{FF2B5EF4-FFF2-40B4-BE49-F238E27FC236}">
                    <a16:creationId xmlns:a16="http://schemas.microsoft.com/office/drawing/2014/main" id="{67508605-7532-43D0-B22E-F0623E49C21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>
                <a:extLst>
                  <a:ext uri="{FF2B5EF4-FFF2-40B4-BE49-F238E27FC236}">
                    <a16:creationId xmlns:a16="http://schemas.microsoft.com/office/drawing/2014/main" id="{D9E2E058-9758-4DF8-9761-A9A58AEA3CBC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264" name="MoonLegend5">
              <a:extLst>
                <a:ext uri="{FF2B5EF4-FFF2-40B4-BE49-F238E27FC236}">
                  <a16:creationId xmlns:a16="http://schemas.microsoft.com/office/drawing/2014/main" id="{E432152C-02F7-4D67-9838-A6A0BEA23924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>
                <a:extLst>
                  <a:ext uri="{FF2B5EF4-FFF2-40B4-BE49-F238E27FC236}">
                    <a16:creationId xmlns:a16="http://schemas.microsoft.com/office/drawing/2014/main" id="{5DEB7D37-D498-419F-BA9B-05B6BCE45C2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>
                <a:extLst>
                  <a:ext uri="{FF2B5EF4-FFF2-40B4-BE49-F238E27FC236}">
                    <a16:creationId xmlns:a16="http://schemas.microsoft.com/office/drawing/2014/main" id="{404B830B-EA04-42B4-ADE7-B9234C04590C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4" name="Legend1">
              <a:extLst>
                <a:ext uri="{FF2B5EF4-FFF2-40B4-BE49-F238E27FC236}">
                  <a16:creationId xmlns:a16="http://schemas.microsoft.com/office/drawing/2014/main" id="{3213E943-0D00-43B7-AF2D-7BD46B06D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286298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5" name="Legend2">
              <a:extLst>
                <a:ext uri="{FF2B5EF4-FFF2-40B4-BE49-F238E27FC236}">
                  <a16:creationId xmlns:a16="http://schemas.microsoft.com/office/drawing/2014/main" id="{9EB88BE4-E847-4BD0-8E08-50A7D55B87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561927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6" name="Legend3">
              <a:extLst>
                <a:ext uri="{FF2B5EF4-FFF2-40B4-BE49-F238E27FC236}">
                  <a16:creationId xmlns:a16="http://schemas.microsoft.com/office/drawing/2014/main" id="{164F6601-450A-466E-8875-B19831B0C1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836000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7" name="Legend4">
              <a:extLst>
                <a:ext uri="{FF2B5EF4-FFF2-40B4-BE49-F238E27FC236}">
                  <a16:creationId xmlns:a16="http://schemas.microsoft.com/office/drawing/2014/main" id="{1B564AD1-CFC6-4288-BE23-22BFA570CF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1106958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8" name="Legend5">
              <a:extLst>
                <a:ext uri="{FF2B5EF4-FFF2-40B4-BE49-F238E27FC236}">
                  <a16:creationId xmlns:a16="http://schemas.microsoft.com/office/drawing/2014/main" id="{14238FED-0565-4C99-80A6-AE0F7E80B2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5" y="1384145"/>
              <a:ext cx="383803" cy="1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7">
                <a:buClr>
                  <a:srgbClr val="3D6E4D"/>
                </a:buClr>
                <a:defRPr/>
              </a:pPr>
              <a:r>
                <a:rPr lang="en-US" sz="1285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10270" name="MoonLegend3">
              <a:extLst>
                <a:ext uri="{FF2B5EF4-FFF2-40B4-BE49-F238E27FC236}">
                  <a16:creationId xmlns:a16="http://schemas.microsoft.com/office/drawing/2014/main" id="{DE1361F9-72F1-49F7-8AE2-DA0F97EA52D3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>
                <a:extLst>
                  <a:ext uri="{FF2B5EF4-FFF2-40B4-BE49-F238E27FC236}">
                    <a16:creationId xmlns:a16="http://schemas.microsoft.com/office/drawing/2014/main" id="{BD3677D3-225A-41A9-8AD7-B04DFD18F7F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>
                <a:extLst>
                  <a:ext uri="{FF2B5EF4-FFF2-40B4-BE49-F238E27FC236}">
                    <a16:creationId xmlns:a16="http://schemas.microsoft.com/office/drawing/2014/main" id="{30A9B8CE-B034-4CE7-87B9-5BCDA076EA83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0258" name="Moon" hidden="1">
            <a:extLst>
              <a:ext uri="{FF2B5EF4-FFF2-40B4-BE49-F238E27FC236}">
                <a16:creationId xmlns:a16="http://schemas.microsoft.com/office/drawing/2014/main" id="{1C5491F0-89BD-4C0D-BD80-D66F710D8EF9}"/>
              </a:ext>
            </a:extLst>
          </p:cNvPr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2995375" y="5551806"/>
            <a:ext cx="363379" cy="362268"/>
            <a:chOff x="1600" y="1600"/>
            <a:chExt cx="160" cy="160"/>
          </a:xfrm>
        </p:grpSpPr>
        <p:sp>
          <p:nvSpPr>
            <p:cNvPr id="89" name="Oval 90">
              <a:extLst>
                <a:ext uri="{FF2B5EF4-FFF2-40B4-BE49-F238E27FC236}">
                  <a16:creationId xmlns:a16="http://schemas.microsoft.com/office/drawing/2014/main" id="{1C1511AC-E0BF-404A-AAF4-67CB87EA413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</a:endParaRPr>
            </a:p>
          </p:txBody>
        </p:sp>
        <p:sp>
          <p:nvSpPr>
            <p:cNvPr id="90" name="Arc 91">
              <a:extLst>
                <a:ext uri="{FF2B5EF4-FFF2-40B4-BE49-F238E27FC236}">
                  <a16:creationId xmlns:a16="http://schemas.microsoft.com/office/drawing/2014/main" id="{C268DCDC-D4C8-4E4C-B8AC-A1C392CE221D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714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2496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4" r:id="rId1"/>
    <p:sldLayoutId id="2147484295" r:id="rId2"/>
    <p:sldLayoutId id="2147484296" r:id="rId3"/>
    <p:sldLayoutId id="2147484298" r:id="rId4"/>
    <p:sldLayoutId id="2147484299" r:id="rId5"/>
  </p:sldLayoutIdLst>
  <p:hf hdr="0" ftr="0" dt="0"/>
  <p:txStyles>
    <p:titleStyle>
      <a:lvl1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8454" rtl="0" eaLnBrk="0" fontAlgn="base" hangingPunct="0">
        <a:spcBef>
          <a:spcPct val="0"/>
        </a:spcBef>
        <a:spcAft>
          <a:spcPct val="0"/>
        </a:spcAft>
        <a:tabLst>
          <a:tab pos="288370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777" algn="l" defTabSz="959147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6pPr>
      <a:lvl7pPr marL="979554" algn="l" defTabSz="959147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7pPr>
      <a:lvl8pPr marL="1469330" algn="l" defTabSz="959147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8pPr>
      <a:lvl9pPr marL="1959108" algn="l" defTabSz="959147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9pPr>
    </p:titleStyle>
    <p:bodyStyle>
      <a:lvl1pPr marL="366713" indent="-366713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+mn-lt"/>
          <a:ea typeface="+mn-ea"/>
          <a:cs typeface="+mn-cs"/>
        </a:defRPr>
      </a:lvl1pPr>
      <a:lvl2pPr marL="206693" indent="-205026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80">
          <a:solidFill>
            <a:schemeClr val="tx1"/>
          </a:solidFill>
          <a:latin typeface="+mn-lt"/>
          <a:ea typeface="ＭＳ Ｐゴシック" pitchFamily="34" charset="-128"/>
        </a:defRPr>
      </a:lvl2pPr>
      <a:lvl3pPr marL="488395" indent="-280035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80">
          <a:solidFill>
            <a:schemeClr val="tx1"/>
          </a:solidFill>
          <a:latin typeface="+mn-lt"/>
          <a:ea typeface="ＭＳ Ｐゴシック" pitchFamily="34" charset="-128"/>
        </a:defRPr>
      </a:lvl3pPr>
      <a:lvl4pPr marL="656749" indent="-165021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80">
          <a:solidFill>
            <a:schemeClr val="tx1"/>
          </a:solidFill>
          <a:latin typeface="+mn-lt"/>
          <a:ea typeface="ＭＳ Ｐゴシック" pitchFamily="34" charset="-128"/>
        </a:defRPr>
      </a:lvl4pPr>
      <a:lvl5pPr marL="801767" indent="-138351" algn="l" defTabSz="958454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80">
          <a:solidFill>
            <a:schemeClr val="tx1"/>
          </a:solidFill>
          <a:latin typeface="+mn-lt"/>
          <a:ea typeface="ＭＳ Ｐゴシック" pitchFamily="34" charset="-128"/>
        </a:defRPr>
      </a:lvl5pPr>
      <a:lvl6pPr marL="803234" indent="-139451" algn="l" defTabSz="9591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803234" indent="-139451" algn="l" defTabSz="9591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803234" indent="-139451" algn="l" defTabSz="9591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803234" indent="-139451" algn="l" defTabSz="95914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1pPr>
      <a:lvl2pPr marL="489777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2pPr>
      <a:lvl3pPr marL="979554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3pPr>
      <a:lvl4pPr marL="1469330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4pPr>
      <a:lvl5pPr marL="1959108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5pPr>
      <a:lvl6pPr marL="2448885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6pPr>
      <a:lvl7pPr marL="2938662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9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8pPr>
      <a:lvl9pPr marL="3918217" algn="l" defTabSz="979554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12"/>
          <a:ext cx="226778" cy="226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2"/>
                        <a:ext cx="226778" cy="22676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4A75D03-7412-4E3B-8E30-1C2E9A809371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3" y="3"/>
            <a:ext cx="166688" cy="222251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37" b="1">
              <a:solidFill>
                <a:srgbClr val="000000"/>
              </a:solidFill>
              <a:cs typeface="+mj-cs"/>
              <a:sym typeface="Arial" panose="020B0604020202020204" pitchFamily="34" charset="0"/>
            </a:endParaRPr>
          </a:p>
        </p:txBody>
      </p:sp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057134" y="8644289"/>
            <a:ext cx="744886" cy="95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20" descr="logo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232948" y="8893074"/>
            <a:ext cx="517601" cy="625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TextBox 2"/>
          <p:cNvSpPr txBox="1">
            <a:spLocks noChangeArrowheads="1"/>
          </p:cNvSpPr>
          <p:nvPr userDrawn="1"/>
        </p:nvSpPr>
        <p:spPr bwMode="auto">
          <a:xfrm>
            <a:off x="11841335" y="9318087"/>
            <a:ext cx="169918" cy="164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FCE323BA-7C57-40D6-A8E7-C624A0CFE227}" type="slidenum">
              <a:rPr lang="en-ZA" sz="1071" smtClean="0">
                <a:solidFill>
                  <a:srgbClr val="000000"/>
                </a:solidFill>
                <a:latin typeface="Arial"/>
                <a:cs typeface="Arial" charset="0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ZA" sz="1071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17" y="2786941"/>
            <a:ext cx="6145675" cy="1318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52" y="344691"/>
            <a:ext cx="1232711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5" y="38556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99">
                <a:solidFill>
                  <a:srgbClr val="808080"/>
                </a:solidFill>
                <a:latin typeface="Arial"/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52" y="759672"/>
            <a:ext cx="12327110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14">
                <a:solidFill>
                  <a:srgbClr val="808080"/>
                </a:solidFill>
                <a:latin typeface="Arial"/>
                <a:cs typeface="Arial" charset="0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7258" y="8942074"/>
            <a:ext cx="1048437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71">
                <a:solidFill>
                  <a:srgbClr val="000000"/>
                </a:solidFill>
                <a:latin typeface="Arial"/>
                <a:cs typeface="Arial" charset="0"/>
              </a:rPr>
              <a:t>1 Footnote</a:t>
            </a:r>
          </a:p>
        </p:txBody>
      </p:sp>
      <p:sp>
        <p:nvSpPr>
          <p:cNvPr id="1080" name="5. Source" hidden="1"/>
          <p:cNvSpPr>
            <a:spLocks noChangeArrowheads="1"/>
          </p:cNvSpPr>
          <p:nvPr/>
        </p:nvSpPr>
        <p:spPr bwMode="auto">
          <a:xfrm>
            <a:off x="237258" y="9245935"/>
            <a:ext cx="1000706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378" indent="-503378" defTabSz="959140" fontAlgn="auto">
              <a:spcBef>
                <a:spcPts val="0"/>
              </a:spcBef>
              <a:spcAft>
                <a:spcPts val="0"/>
              </a:spcAft>
              <a:tabLst>
                <a:tab pos="499977" algn="l"/>
              </a:tabLst>
            </a:pPr>
            <a:r>
              <a:rPr lang="en-US" sz="1071">
                <a:solidFill>
                  <a:srgbClr val="000000"/>
                </a:solidFill>
                <a:latin typeface="Arial"/>
                <a:cs typeface="Arial" charset="0"/>
              </a:rPr>
              <a:t>Source: Source</a:t>
            </a:r>
          </a:p>
        </p:txBody>
      </p: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19" y="2152005"/>
            <a:ext cx="6091249" cy="546503"/>
            <a:chOff x="915" y="789"/>
            <a:chExt cx="2686" cy="241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89"/>
              <a:ext cx="2686" cy="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714" b="1">
                  <a:solidFill>
                    <a:srgbClr val="000000"/>
                  </a:solidFill>
                  <a:latin typeface="Arial"/>
                  <a:cs typeface="Arial" charset="0"/>
                </a:rPr>
                <a:t>Title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714">
                  <a:solidFill>
                    <a:srgbClr val="808080"/>
                  </a:solidFill>
                  <a:latin typeface="Arial"/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67" y="410455"/>
            <a:ext cx="911648" cy="1405934"/>
            <a:chOff x="4936" y="176"/>
            <a:chExt cx="402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18" y="419519"/>
            <a:ext cx="1351598" cy="977356"/>
            <a:chOff x="4750" y="176"/>
            <a:chExt cx="596" cy="43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714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19132" y="428596"/>
            <a:ext cx="1145250" cy="225576"/>
            <a:chOff x="7939004" y="285750"/>
            <a:chExt cx="801771" cy="157650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39004" y="285750"/>
              <a:ext cx="801771" cy="15765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808080"/>
                  </a:solidFill>
                  <a:latin typeface="Arial"/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39004" y="285750"/>
              <a:ext cx="0" cy="1576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39004" y="443400"/>
              <a:ext cx="80177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323" y="410455"/>
            <a:ext cx="1006225" cy="1866270"/>
            <a:chOff x="6655594" y="273840"/>
            <a:chExt cx="704523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68" y="286539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68" y="561178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68" y="835816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68" y="1107279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68" y="1383504"/>
              <a:ext cx="383849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40" fontAlgn="auto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</a:pPr>
              <a:r>
                <a:rPr lang="en-US" sz="1286">
                  <a:solidFill>
                    <a:srgbClr val="000000"/>
                  </a:solidFill>
                  <a:latin typeface="Arial"/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714">
                  <a:solidFill>
                    <a:srgbClr val="000000"/>
                  </a:solidFill>
                  <a:latin typeface="Arial"/>
                  <a:cs typeface="Arial" charset="0"/>
                </a:endParaRPr>
              </a:p>
            </p:txBody>
          </p:sp>
        </p:grpSp>
      </p:grpSp>
      <p:grpSp>
        <p:nvGrpSpPr>
          <p:cNvPr id="88" name="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2995739" y="5551197"/>
            <a:ext cx="362845" cy="362822"/>
            <a:chOff x="1600" y="1600"/>
            <a:chExt cx="160" cy="160"/>
          </a:xfrm>
        </p:grpSpPr>
        <p:sp>
          <p:nvSpPr>
            <p:cNvPr id="89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sz="1714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494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3" r:id="rId1"/>
    <p:sldLayoutId id="2147484314" r:id="rId2"/>
    <p:sldLayoutId id="2147484315" r:id="rId3"/>
  </p:sldLayoutIdLst>
  <p:hf hdr="0" ftr="0" dt="0"/>
  <p:txStyles>
    <p:titleStyle>
      <a:lvl1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9140" rtl="0" eaLnBrk="1" fontAlgn="base" hangingPunct="1">
        <a:spcBef>
          <a:spcPct val="0"/>
        </a:spcBef>
        <a:spcAft>
          <a:spcPct val="0"/>
        </a:spcAft>
        <a:tabLst>
          <a:tab pos="289103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774" algn="l" defTabSz="959140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6pPr>
      <a:lvl7pPr marL="979549" algn="l" defTabSz="959140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7pPr>
      <a:lvl8pPr marL="1469321" algn="l" defTabSz="959140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8pPr>
      <a:lvl9pPr marL="1959094" algn="l" defTabSz="959140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9pPr>
    </p:titleStyle>
    <p:bodyStyle>
      <a:lvl1pPr marL="367331" indent="-367331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14">
          <a:solidFill>
            <a:schemeClr val="tx1"/>
          </a:solidFill>
          <a:latin typeface="+mn-lt"/>
          <a:ea typeface="+mn-ea"/>
          <a:cs typeface="+mn-cs"/>
        </a:defRPr>
      </a:lvl1pPr>
      <a:lvl2pPr marL="207474" indent="-205774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14">
          <a:solidFill>
            <a:schemeClr val="tx1"/>
          </a:solidFill>
          <a:latin typeface="+mn-lt"/>
          <a:ea typeface="ＭＳ Ｐゴシック" pitchFamily="34" charset="-128"/>
        </a:defRPr>
      </a:lvl2pPr>
      <a:lvl3pPr marL="489774" indent="-28060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14">
          <a:solidFill>
            <a:schemeClr val="tx1"/>
          </a:solidFill>
          <a:latin typeface="+mn-lt"/>
          <a:ea typeface="ＭＳ Ｐゴシック" pitchFamily="34" charset="-128"/>
        </a:defRPr>
      </a:lvl3pPr>
      <a:lvl4pPr marL="658133" indent="-166659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14">
          <a:solidFill>
            <a:schemeClr val="tx1"/>
          </a:solidFill>
          <a:latin typeface="+mn-lt"/>
          <a:ea typeface="ＭＳ Ｐゴシック" pitchFamily="34" charset="-128"/>
        </a:defRPr>
      </a:lvl4pPr>
      <a:lvl5pPr marL="802685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>
          <a:solidFill>
            <a:schemeClr val="tx1"/>
          </a:solidFill>
          <a:latin typeface="+mn-lt"/>
          <a:ea typeface="ＭＳ Ｐゴシック" pitchFamily="34" charset="-128"/>
        </a:defRPr>
      </a:lvl5pPr>
      <a:lvl6pPr marL="803230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803230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803230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803230" indent="-139450" algn="l" defTabSz="9591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1pPr>
      <a:lvl2pPr marL="489774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2pPr>
      <a:lvl3pPr marL="979549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3pPr>
      <a:lvl4pPr marL="1469321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4pPr>
      <a:lvl5pPr marL="1959094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5pPr>
      <a:lvl6pPr marL="2448866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6pPr>
      <a:lvl7pPr marL="2938643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7pPr>
      <a:lvl8pPr marL="3428415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8pPr>
      <a:lvl9pPr marL="3918188" algn="l" defTabSz="979549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4"/>
          <a:ext cx="226778" cy="2267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226778" cy="22676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057130" y="8644287"/>
            <a:ext cx="744886" cy="95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20" descr="logo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232944" y="8893073"/>
            <a:ext cx="517601" cy="625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9" name="TextBox 2"/>
          <p:cNvSpPr txBox="1">
            <a:spLocks noChangeArrowheads="1"/>
          </p:cNvSpPr>
          <p:nvPr userDrawn="1"/>
        </p:nvSpPr>
        <p:spPr bwMode="auto">
          <a:xfrm>
            <a:off x="11841335" y="9318082"/>
            <a:ext cx="169918" cy="164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fld id="{FCE323BA-7C57-40D6-A8E7-C624A0CFE227}" type="slidenum">
              <a:rPr lang="en-ZA" sz="1071" smtClean="0">
                <a:solidFill>
                  <a:srgbClr val="000000"/>
                </a:solidFill>
                <a:latin typeface="+mn-lt"/>
                <a:cs typeface="Arial" charset="0"/>
              </a:rPr>
              <a:pPr eaLnBrk="1" hangingPunct="1">
                <a:defRPr/>
              </a:pPr>
              <a:t>‹#›</a:t>
            </a:fld>
            <a:endParaRPr lang="en-ZA" sz="1071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17" y="2786937"/>
            <a:ext cx="6145675" cy="1318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7" y="344686"/>
            <a:ext cx="12327110" cy="313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1" y="38554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99" dirty="0">
                <a:solidFill>
                  <a:srgbClr val="808080"/>
                </a:solidFill>
                <a:latin typeface="+mn-lt"/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47" y="759664"/>
            <a:ext cx="12327110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714">
                <a:solidFill>
                  <a:srgbClr val="808080"/>
                </a:solidFill>
                <a:latin typeface="+mn-lt"/>
                <a:cs typeface="Arial" charset="0"/>
              </a:rPr>
              <a:t>Subtitle</a:t>
            </a:r>
            <a:endParaRPr lang="en-US" sz="1714" dirty="0">
              <a:solidFill>
                <a:srgbClr val="808080"/>
              </a:solidFill>
              <a:latin typeface="+mn-lt"/>
              <a:cs typeface="Arial" charset="0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237252" y="8942068"/>
            <a:ext cx="1048437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71" dirty="0">
                <a:solidFill>
                  <a:srgbClr val="000000"/>
                </a:solidFill>
                <a:latin typeface="+mn-lt"/>
                <a:cs typeface="Arial" charset="0"/>
              </a:rPr>
              <a:t>1 Footnote</a:t>
            </a:r>
          </a:p>
        </p:txBody>
      </p:sp>
      <p:sp>
        <p:nvSpPr>
          <p:cNvPr id="1080" name="5. Source" hidden="1"/>
          <p:cNvSpPr>
            <a:spLocks noChangeArrowheads="1"/>
          </p:cNvSpPr>
          <p:nvPr/>
        </p:nvSpPr>
        <p:spPr bwMode="auto">
          <a:xfrm>
            <a:off x="237252" y="9245932"/>
            <a:ext cx="10007064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402" indent="-503402" defTabSz="959189">
              <a:tabLst>
                <a:tab pos="500003" algn="l"/>
              </a:tabLst>
            </a:pPr>
            <a:r>
              <a:rPr lang="en-US" sz="1071" dirty="0">
                <a:solidFill>
                  <a:srgbClr val="000000"/>
                </a:solidFill>
                <a:latin typeface="+mn-lt"/>
                <a:cs typeface="Arial" charset="0"/>
              </a:rPr>
              <a:t>Source: Source</a:t>
            </a:r>
          </a:p>
        </p:txBody>
      </p: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17" y="2151998"/>
            <a:ext cx="6091249" cy="546503"/>
            <a:chOff x="915" y="789"/>
            <a:chExt cx="2686" cy="241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89"/>
              <a:ext cx="2686" cy="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714" b="1" dirty="0">
                  <a:solidFill>
                    <a:srgbClr val="000000"/>
                  </a:solidFill>
                  <a:latin typeface="+mn-lt"/>
                  <a:cs typeface="Arial" charset="0"/>
                </a:rPr>
                <a:t>Title</a:t>
              </a:r>
            </a:p>
            <a:p>
              <a:r>
                <a:rPr lang="en-US" sz="1714" dirty="0">
                  <a:solidFill>
                    <a:srgbClr val="80808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57" y="410449"/>
            <a:ext cx="911648" cy="1405937"/>
            <a:chOff x="4936" y="176"/>
            <a:chExt cx="402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09" y="419519"/>
            <a:ext cx="1351597" cy="977356"/>
            <a:chOff x="4750" y="176"/>
            <a:chExt cx="596" cy="43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714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19101" y="428589"/>
            <a:ext cx="1145251" cy="225576"/>
            <a:chOff x="7939000" y="285750"/>
            <a:chExt cx="801775" cy="157650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39000" y="285750"/>
              <a:ext cx="801775" cy="15765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808080"/>
                  </a:solidFill>
                  <a:latin typeface="+mn-lt"/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39000" y="285750"/>
              <a:ext cx="0" cy="1576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39000" y="443400"/>
              <a:ext cx="80177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309" y="410449"/>
            <a:ext cx="1006228" cy="1866270"/>
            <a:chOff x="6655594" y="273840"/>
            <a:chExt cx="704526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70" y="286539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70" y="561178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70" y="835816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70" y="1107279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70" y="1383504"/>
              <a:ext cx="383850" cy="1385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9189">
                <a:buClr>
                  <a:srgbClr val="3D6E4D"/>
                </a:buClr>
              </a:pPr>
              <a:r>
                <a:rPr lang="en-US" sz="1286" dirty="0">
                  <a:solidFill>
                    <a:srgbClr val="000000"/>
                  </a:solidFill>
                  <a:latin typeface="+mn-lt"/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714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</p:grpSp>
      <p:grpSp>
        <p:nvGrpSpPr>
          <p:cNvPr id="88" name="Moon" hidden="1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2995734" y="5551193"/>
            <a:ext cx="362845" cy="362822"/>
            <a:chOff x="1600" y="1600"/>
            <a:chExt cx="160" cy="160"/>
          </a:xfrm>
        </p:grpSpPr>
        <p:sp>
          <p:nvSpPr>
            <p:cNvPr id="89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>
                <a:latin typeface="+mn-lt"/>
              </a:endParaRPr>
            </a:p>
          </p:txBody>
        </p:sp>
        <p:sp>
          <p:nvSpPr>
            <p:cNvPr id="90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714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52884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8" r:id="rId1"/>
    <p:sldLayoutId id="2147484319" r:id="rId2"/>
    <p:sldLayoutId id="2147484320" r:id="rId3"/>
  </p:sldLayoutIdLst>
  <p:hf hdr="0" ftr="0" dt="0"/>
  <p:txStyles>
    <p:titleStyle>
      <a:lvl1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9189" rtl="0" eaLnBrk="1" fontAlgn="base" hangingPunct="1">
        <a:spcBef>
          <a:spcPct val="0"/>
        </a:spcBef>
        <a:spcAft>
          <a:spcPct val="0"/>
        </a:spcAft>
        <a:tabLst>
          <a:tab pos="289116" algn="l"/>
        </a:tabLst>
        <a:defRPr sz="2037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798" algn="l" defTabSz="959189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6pPr>
      <a:lvl7pPr marL="979596" algn="l" defTabSz="959189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7pPr>
      <a:lvl8pPr marL="1469393" algn="l" defTabSz="959189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8pPr>
      <a:lvl9pPr marL="1959193" algn="l" defTabSz="959189" rtl="0" eaLnBrk="1" fontAlgn="base" hangingPunct="1">
        <a:spcBef>
          <a:spcPct val="0"/>
        </a:spcBef>
        <a:spcAft>
          <a:spcPct val="0"/>
        </a:spcAft>
        <a:defRPr sz="2037" b="1">
          <a:solidFill>
            <a:schemeClr val="tx2"/>
          </a:solidFill>
          <a:latin typeface="Arial" charset="0"/>
        </a:defRPr>
      </a:lvl9pPr>
    </p:titleStyle>
    <p:bodyStyle>
      <a:lvl1pPr marL="367348" indent="-367348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14">
          <a:solidFill>
            <a:schemeClr val="tx1"/>
          </a:solidFill>
          <a:latin typeface="+mn-lt"/>
          <a:ea typeface="+mn-ea"/>
          <a:cs typeface="+mn-cs"/>
        </a:defRPr>
      </a:lvl1pPr>
      <a:lvl2pPr marL="207484" indent="-205785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714">
          <a:solidFill>
            <a:schemeClr val="tx1"/>
          </a:solidFill>
          <a:latin typeface="+mn-lt"/>
          <a:ea typeface="ＭＳ Ｐゴシック" pitchFamily="34" charset="-128"/>
        </a:defRPr>
      </a:lvl2pPr>
      <a:lvl3pPr marL="489798" indent="-280614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714">
          <a:solidFill>
            <a:schemeClr val="tx1"/>
          </a:solidFill>
          <a:latin typeface="+mn-lt"/>
          <a:ea typeface="ＭＳ Ｐゴシック" pitchFamily="34" charset="-128"/>
        </a:defRPr>
      </a:lvl3pPr>
      <a:lvl4pPr marL="658167" indent="-166668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714">
          <a:solidFill>
            <a:schemeClr val="tx1"/>
          </a:solidFill>
          <a:latin typeface="+mn-lt"/>
          <a:ea typeface="ＭＳ Ｐゴシック" pitchFamily="34" charset="-128"/>
        </a:defRPr>
      </a:lvl4pPr>
      <a:lvl5pPr marL="802724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>
          <a:solidFill>
            <a:schemeClr val="tx1"/>
          </a:solidFill>
          <a:latin typeface="+mn-lt"/>
          <a:ea typeface="ＭＳ Ｐゴシック" pitchFamily="34" charset="-128"/>
        </a:defRPr>
      </a:lvl5pPr>
      <a:lvl6pPr marL="803269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803269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803269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803269" indent="-139457" algn="l" defTabSz="95918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1pPr>
      <a:lvl2pPr marL="489798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2pPr>
      <a:lvl3pPr marL="979596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3pPr>
      <a:lvl4pPr marL="1469393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4pPr>
      <a:lvl5pPr marL="1959193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5pPr>
      <a:lvl6pPr marL="2448989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6pPr>
      <a:lvl7pPr marL="2938789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7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8pPr>
      <a:lvl9pPr marL="3918384" algn="l" defTabSz="979596" rtl="0" eaLnBrk="1" latinLnBrk="0" hangingPunct="1">
        <a:defRPr sz="19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Google Shape;11;p1">
            <a:extLst>
              <a:ext uri="{FF2B5EF4-FFF2-40B4-BE49-F238E27FC236}">
                <a16:creationId xmlns:a16="http://schemas.microsoft.com/office/drawing/2014/main" id="{F6B3DC8E-D7EE-4EC5-BA71-248B62DF32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9864" y="328614"/>
            <a:ext cx="123110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grpSp>
        <p:nvGrpSpPr>
          <p:cNvPr id="9220" name="Google Shape;12;p1">
            <a:extLst>
              <a:ext uri="{FF2B5EF4-FFF2-40B4-BE49-F238E27FC236}">
                <a16:creationId xmlns:a16="http://schemas.microsoft.com/office/drawing/2014/main" id="{F9B34B23-0FEF-4A35-BA5F-04443E0CB6F7}"/>
              </a:ext>
            </a:extLst>
          </p:cNvPr>
          <p:cNvGrpSpPr>
            <a:grpSpLocks/>
          </p:cNvGrpSpPr>
          <p:nvPr/>
        </p:nvGrpSpPr>
        <p:grpSpPr bwMode="auto">
          <a:xfrm>
            <a:off x="12069764" y="8983292"/>
            <a:ext cx="731836" cy="676276"/>
            <a:chOff x="4814" y="3472"/>
            <a:chExt cx="826" cy="762"/>
          </a:xfrm>
        </p:grpSpPr>
        <p:pic>
          <p:nvPicPr>
            <p:cNvPr id="9221" name="Google Shape;13;p1" descr="green">
              <a:extLst>
                <a:ext uri="{FF2B5EF4-FFF2-40B4-BE49-F238E27FC236}">
                  <a16:creationId xmlns:a16="http://schemas.microsoft.com/office/drawing/2014/main" id="{F7EC3A89-16C7-4785-8D19-DD65000C479B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4" y="3472"/>
              <a:ext cx="826" cy="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2" name="Google Shape;14;p1" descr="Temp%20NPDC%20Logo">
              <a:extLst>
                <a:ext uri="{FF2B5EF4-FFF2-40B4-BE49-F238E27FC236}">
                  <a16:creationId xmlns:a16="http://schemas.microsoft.com/office/drawing/2014/main" id="{160E4E38-BFAD-4631-922A-00B584B0370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7"/>
            <a:stretch>
              <a:fillRect/>
            </a:stretch>
          </p:blipFill>
          <p:spPr bwMode="auto">
            <a:xfrm>
              <a:off x="5112" y="3688"/>
              <a:ext cx="436" cy="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0497032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323" r:id="rId1"/>
    <p:sldLayoutId id="2147484324" r:id="rId2"/>
    <p:sldLayoutId id="2147484325" r:id="rId3"/>
    <p:sldLayoutId id="2147484326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1995" b="1" i="0" baseline="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1" y="2786934"/>
            <a:ext cx="6145675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7" y="38553"/>
            <a:ext cx="899285" cy="22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71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46" y="759669"/>
            <a:ext cx="12327110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8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1" name="Slide Elements" hidden="1"/>
          <p:cNvGrpSpPr>
            <a:grpSpLocks/>
          </p:cNvGrpSpPr>
          <p:nvPr/>
        </p:nvGrpSpPr>
        <p:grpSpPr bwMode="auto">
          <a:xfrm>
            <a:off x="237248" y="8891437"/>
            <a:ext cx="10599588" cy="519289"/>
            <a:chOff x="75" y="3921"/>
            <a:chExt cx="644" cy="22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1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0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503291" indent="-503291" defTabSz="958976" fontAlgn="base">
                <a:spcBef>
                  <a:spcPct val="0"/>
                </a:spcBef>
                <a:spcAft>
                  <a:spcPct val="0"/>
                </a:spcAft>
                <a:tabLst>
                  <a:tab pos="499893" algn="l"/>
                </a:tabLst>
              </a:pPr>
              <a:r>
                <a:rPr lang="en-GB" sz="1051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22" y="2163331"/>
            <a:ext cx="6091248" cy="535162"/>
            <a:chOff x="915" y="794"/>
            <a:chExt cx="2686" cy="236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94"/>
              <a:ext cx="2686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b="1" dirty="0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dirty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8420" y="7868721"/>
            <a:ext cx="1873183" cy="172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20" descr="logo"/>
          <p:cNvPicPr>
            <a:picLocks noChangeAspect="1" noChangeArrowheads="1"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33478" y="8567157"/>
            <a:ext cx="1025035" cy="975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51" y="410449"/>
            <a:ext cx="902576" cy="1405940"/>
            <a:chOff x="4936" y="176"/>
            <a:chExt cx="398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05" y="419521"/>
            <a:ext cx="1342525" cy="975087"/>
            <a:chOff x="4750" y="176"/>
            <a:chExt cx="592" cy="43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44747" y="428600"/>
            <a:ext cx="1119601" cy="221599"/>
            <a:chOff x="7956957" y="285750"/>
            <a:chExt cx="783818" cy="154871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56957" y="285750"/>
              <a:ext cx="783818" cy="1548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56957" y="285750"/>
              <a:ext cx="0" cy="15487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56957" y="440621"/>
              <a:ext cx="78381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336" y="410444"/>
            <a:ext cx="996609" cy="1866270"/>
            <a:chOff x="6655594" y="273840"/>
            <a:chExt cx="697790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1039" name="TextBox 2"/>
          <p:cNvSpPr txBox="1">
            <a:spLocks noChangeArrowheads="1"/>
          </p:cNvSpPr>
          <p:nvPr/>
        </p:nvSpPr>
        <p:spPr bwMode="auto">
          <a:xfrm>
            <a:off x="11327550" y="9186229"/>
            <a:ext cx="362903" cy="26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940" tIns="48969" rIns="97940" bIns="48969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CE323BA-7C57-40D6-A8E7-C624A0CFE227}" type="slidenum">
              <a:rPr lang="en-GB" sz="1051" smtClean="0">
                <a:solidFill>
                  <a:srgbClr val="000000"/>
                </a:solidFill>
                <a:cs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51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9790691" y="1497771"/>
            <a:ext cx="362844" cy="362823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8570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9" r:id="rId1"/>
    <p:sldLayoutId id="2147484330" r:id="rId2"/>
    <p:sldLayoutId id="2147484331" r:id="rId3"/>
    <p:sldLayoutId id="2147484332" r:id="rId4"/>
    <p:sldLayoutId id="2147484333" r:id="rId5"/>
    <p:sldLayoutId id="2147484334" r:id="rId6"/>
  </p:sldLayoutIdLst>
  <p:hf hdr="0" ftr="0" dt="0"/>
  <p:txStyles>
    <p:titleStyle>
      <a:lvl1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68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6pPr>
      <a:lvl7pPr marL="97937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7pPr>
      <a:lvl8pPr marL="146906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8pPr>
      <a:lvl9pPr marL="1958760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9pPr>
    </p:titleStyle>
    <p:bodyStyle>
      <a:lvl1pPr marL="367268" indent="-367268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+mn-lt"/>
          <a:ea typeface="+mn-ea"/>
          <a:cs typeface="+mn-cs"/>
        </a:defRPr>
      </a:lvl1pPr>
      <a:lvl2pPr marL="207439" indent="-205738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80">
          <a:solidFill>
            <a:schemeClr val="tx1"/>
          </a:solidFill>
          <a:latin typeface="+mn-lt"/>
          <a:ea typeface="ＭＳ Ｐゴシック" pitchFamily="34" charset="-128"/>
        </a:defRPr>
      </a:lvl2pPr>
      <a:lvl3pPr marL="489689" indent="-280551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80">
          <a:solidFill>
            <a:schemeClr val="tx1"/>
          </a:solidFill>
          <a:latin typeface="+mn-lt"/>
          <a:ea typeface="ＭＳ Ｐゴシック" pitchFamily="34" charset="-128"/>
        </a:defRPr>
      </a:lvl3pPr>
      <a:lvl4pPr marL="658021" indent="-166630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80">
          <a:solidFill>
            <a:schemeClr val="tx1"/>
          </a:solidFill>
          <a:latin typeface="+mn-lt"/>
          <a:ea typeface="ＭＳ Ｐゴシック" pitchFamily="34" charset="-128"/>
        </a:defRPr>
      </a:lvl4pPr>
      <a:lvl5pPr marL="802547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>
          <a:solidFill>
            <a:schemeClr val="tx1"/>
          </a:solidFill>
          <a:latin typeface="+mn-lt"/>
          <a:ea typeface="ＭＳ Ｐゴシック" pitchFamily="34" charset="-128"/>
        </a:defRPr>
      </a:lvl5pPr>
      <a:lvl6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6pPr>
      <a:lvl7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7pPr>
      <a:lvl8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8pPr>
      <a:lvl9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1pPr>
      <a:lvl2pPr marL="48968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2pPr>
      <a:lvl3pPr marL="97937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3pPr>
      <a:lvl4pPr marL="146906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4pPr>
      <a:lvl5pPr marL="195876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5pPr>
      <a:lvl6pPr marL="244845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6pPr>
      <a:lvl7pPr marL="2938136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7pPr>
      <a:lvl8pPr marL="3427827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8pPr>
      <a:lvl9pPr marL="3917517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0" y="2786934"/>
            <a:ext cx="6145675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6" y="344685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1" y="38552"/>
            <a:ext cx="899285" cy="22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71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46" y="759662"/>
            <a:ext cx="12327110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8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1" name="Slide Elements" hidden="1"/>
          <p:cNvGrpSpPr>
            <a:grpSpLocks/>
          </p:cNvGrpSpPr>
          <p:nvPr/>
        </p:nvGrpSpPr>
        <p:grpSpPr bwMode="auto">
          <a:xfrm>
            <a:off x="237248" y="8891434"/>
            <a:ext cx="10599588" cy="519289"/>
            <a:chOff x="75" y="3921"/>
            <a:chExt cx="644" cy="22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1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0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503300" indent="-503300" defTabSz="958993" fontAlgn="base">
                <a:spcBef>
                  <a:spcPct val="0"/>
                </a:spcBef>
                <a:spcAft>
                  <a:spcPct val="0"/>
                </a:spcAft>
                <a:tabLst>
                  <a:tab pos="499902" algn="l"/>
                </a:tabLst>
              </a:pPr>
              <a:r>
                <a:rPr lang="en-GB" sz="1051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21" y="2163330"/>
            <a:ext cx="6091248" cy="535163"/>
            <a:chOff x="915" y="794"/>
            <a:chExt cx="2686" cy="236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94"/>
              <a:ext cx="2686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b="1" dirty="0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dirty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46" y="410445"/>
            <a:ext cx="902576" cy="1405940"/>
            <a:chOff x="4936" y="176"/>
            <a:chExt cx="398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10" y="419517"/>
            <a:ext cx="1342525" cy="975087"/>
            <a:chOff x="4750" y="176"/>
            <a:chExt cx="592" cy="43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44757" y="428591"/>
            <a:ext cx="1119601" cy="221599"/>
            <a:chOff x="7956957" y="285750"/>
            <a:chExt cx="783818" cy="154872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56957" y="285750"/>
              <a:ext cx="783818" cy="1548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56957" y="285750"/>
              <a:ext cx="0" cy="15487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56957" y="440622"/>
              <a:ext cx="78381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299" y="410444"/>
            <a:ext cx="996606" cy="1866270"/>
            <a:chOff x="6655594" y="273840"/>
            <a:chExt cx="697791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93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1039" name="TextBox 2"/>
          <p:cNvSpPr txBox="1">
            <a:spLocks noChangeArrowheads="1"/>
          </p:cNvSpPr>
          <p:nvPr/>
        </p:nvSpPr>
        <p:spPr bwMode="auto">
          <a:xfrm>
            <a:off x="11327549" y="9186222"/>
            <a:ext cx="362903" cy="26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940" tIns="48969" rIns="97940" bIns="48969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CE323BA-7C57-40D6-A8E7-C624A0CFE227}" type="slidenum">
              <a:rPr lang="en-GB" sz="1051" smtClean="0">
                <a:solidFill>
                  <a:srgbClr val="000000"/>
                </a:solidFill>
                <a:cs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51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9790691" y="1497764"/>
            <a:ext cx="362844" cy="362823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</p:grpSp>
      <p:pic>
        <p:nvPicPr>
          <p:cNvPr id="67" name="Picture 66">
            <a:extLst>
              <a:ext uri="{FF2B5EF4-FFF2-40B4-BE49-F238E27FC236}">
                <a16:creationId xmlns:a16="http://schemas.microsoft.com/office/drawing/2014/main" id="{E12B5A8A-F650-4202-9AD2-F15FB2AE18AF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11359276" y="8669195"/>
            <a:ext cx="1426025" cy="990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921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  <p:sldLayoutId id="2147484341" r:id="rId6"/>
    <p:sldLayoutId id="2147484342" r:id="rId7"/>
    <p:sldLayoutId id="2147484343" r:id="rId8"/>
  </p:sldLayoutIdLst>
  <p:hf hdr="0" ftr="0" dt="0"/>
  <p:txStyles>
    <p:titleStyle>
      <a:lvl1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8993" rtl="0" eaLnBrk="1" fontAlgn="base" hangingPunct="1">
        <a:spcBef>
          <a:spcPct val="0"/>
        </a:spcBef>
        <a:spcAft>
          <a:spcPct val="0"/>
        </a:spcAft>
        <a:tabLst>
          <a:tab pos="289058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698" algn="l" defTabSz="958993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6pPr>
      <a:lvl7pPr marL="979397" algn="l" defTabSz="958993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7pPr>
      <a:lvl8pPr marL="1469096" algn="l" defTabSz="958993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8pPr>
      <a:lvl9pPr marL="1958795" algn="l" defTabSz="958993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9pPr>
    </p:titleStyle>
    <p:bodyStyle>
      <a:lvl1pPr marL="367274" indent="-367274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+mn-lt"/>
          <a:ea typeface="+mn-ea"/>
          <a:cs typeface="+mn-cs"/>
        </a:defRPr>
      </a:lvl1pPr>
      <a:lvl2pPr marL="207443" indent="-205742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80">
          <a:solidFill>
            <a:schemeClr val="tx1"/>
          </a:solidFill>
          <a:latin typeface="+mn-lt"/>
          <a:ea typeface="ＭＳ Ｐゴシック" pitchFamily="34" charset="-128"/>
        </a:defRPr>
      </a:lvl2pPr>
      <a:lvl3pPr marL="489698" indent="-280556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80">
          <a:solidFill>
            <a:schemeClr val="tx1"/>
          </a:solidFill>
          <a:latin typeface="+mn-lt"/>
          <a:ea typeface="ＭＳ Ｐゴシック" pitchFamily="34" charset="-128"/>
        </a:defRPr>
      </a:lvl3pPr>
      <a:lvl4pPr marL="658033" indent="-166634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80">
          <a:solidFill>
            <a:schemeClr val="tx1"/>
          </a:solidFill>
          <a:latin typeface="+mn-lt"/>
          <a:ea typeface="ＭＳ Ｐゴシック" pitchFamily="34" charset="-128"/>
        </a:defRPr>
      </a:lvl4pPr>
      <a:lvl5pPr marL="802562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>
          <a:solidFill>
            <a:schemeClr val="tx1"/>
          </a:solidFill>
          <a:latin typeface="+mn-lt"/>
          <a:ea typeface="ＭＳ Ｐゴシック" pitchFamily="34" charset="-128"/>
        </a:defRPr>
      </a:lvl5pPr>
      <a:lvl6pPr marL="803105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6pPr>
      <a:lvl7pPr marL="803105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7pPr>
      <a:lvl8pPr marL="803105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8pPr>
      <a:lvl9pPr marL="803105" indent="-139429" algn="l" defTabSz="95899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1pPr>
      <a:lvl2pPr marL="489698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2pPr>
      <a:lvl3pPr marL="979397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3pPr>
      <a:lvl4pPr marL="1469096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4pPr>
      <a:lvl5pPr marL="1958795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5pPr>
      <a:lvl6pPr marL="2448494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6pPr>
      <a:lvl7pPr marL="2938190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9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8pPr>
      <a:lvl9pPr marL="3917588" algn="l" defTabSz="979397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Google Shape;11;p1">
            <a:extLst>
              <a:ext uri="{FF2B5EF4-FFF2-40B4-BE49-F238E27FC236}">
                <a16:creationId xmlns:a16="http://schemas.microsoft.com/office/drawing/2014/main" id="{F6B3DC8E-D7EE-4EC5-BA71-248B62DF32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9864" y="328616"/>
            <a:ext cx="123110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grpSp>
        <p:nvGrpSpPr>
          <p:cNvPr id="9220" name="Google Shape;12;p1">
            <a:extLst>
              <a:ext uri="{FF2B5EF4-FFF2-40B4-BE49-F238E27FC236}">
                <a16:creationId xmlns:a16="http://schemas.microsoft.com/office/drawing/2014/main" id="{F9B34B23-0FEF-4A35-BA5F-04443E0CB6F7}"/>
              </a:ext>
            </a:extLst>
          </p:cNvPr>
          <p:cNvGrpSpPr>
            <a:grpSpLocks/>
          </p:cNvGrpSpPr>
          <p:nvPr/>
        </p:nvGrpSpPr>
        <p:grpSpPr bwMode="auto">
          <a:xfrm>
            <a:off x="12069764" y="8924927"/>
            <a:ext cx="731836" cy="676277"/>
            <a:chOff x="4814" y="3472"/>
            <a:chExt cx="826" cy="762"/>
          </a:xfrm>
        </p:grpSpPr>
        <p:pic>
          <p:nvPicPr>
            <p:cNvPr id="9221" name="Google Shape;13;p1" descr="green">
              <a:extLst>
                <a:ext uri="{FF2B5EF4-FFF2-40B4-BE49-F238E27FC236}">
                  <a16:creationId xmlns:a16="http://schemas.microsoft.com/office/drawing/2014/main" id="{F7EC3A89-16C7-4785-8D19-DD65000C479B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4" y="3472"/>
              <a:ext cx="826" cy="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2" name="Google Shape;14;p1" descr="Temp%20NPDC%20Logo">
              <a:extLst>
                <a:ext uri="{FF2B5EF4-FFF2-40B4-BE49-F238E27FC236}">
                  <a16:creationId xmlns:a16="http://schemas.microsoft.com/office/drawing/2014/main" id="{160E4E38-BFAD-4631-922A-00B584B0370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7"/>
            <a:stretch>
              <a:fillRect/>
            </a:stretch>
          </p:blipFill>
          <p:spPr bwMode="auto">
            <a:xfrm>
              <a:off x="5112" y="3688"/>
              <a:ext cx="436" cy="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422150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345" r:id="rId1"/>
    <p:sldLayoutId id="2147484346" r:id="rId2"/>
    <p:sldLayoutId id="2147484347" r:id="rId3"/>
    <p:sldLayoutId id="2147484348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108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15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/>
          </p:cNvGraphicFramePr>
          <p:nvPr>
            <p:custDataLst>
              <p:tags r:id="rId12"/>
            </p:custDataLst>
          </p:nvPr>
        </p:nvGraphicFramePr>
        <p:xfrm>
          <a:off x="2" y="3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3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815" y="2787018"/>
            <a:ext cx="6145213" cy="1591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2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810" y="344488"/>
            <a:ext cx="12325985" cy="3779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0" name="McK 1. On-page tracker" hidden="1"/>
          <p:cNvSpPr>
            <a:spLocks noChangeArrowheads="1"/>
          </p:cNvSpPr>
          <p:nvPr/>
        </p:nvSpPr>
        <p:spPr bwMode="auto">
          <a:xfrm>
            <a:off x="237808" y="37785"/>
            <a:ext cx="1112484" cy="278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1pPr>
            <a:lvl2pPr marL="742950" indent="-28575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2pPr>
            <a:lvl3pPr marL="11430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3pPr>
            <a:lvl4pPr marL="16002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4pPr>
            <a:lvl5pPr marL="2057400" indent="-228600" defTabSz="9080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5pPr>
            <a:lvl6pPr marL="25146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6pPr>
            <a:lvl7pPr marL="29718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7pPr>
            <a:lvl8pPr marL="34290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8pPr>
            <a:lvl9pPr marL="3886200" indent="-228600" defTabSz="9080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/>
                <a:cs typeface="ＭＳ Ｐゴシック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809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7810" y="760097"/>
            <a:ext cx="12325985" cy="3182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068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2" name="Slide Elements" hidden="1"/>
          <p:cNvGrpSpPr>
            <a:grpSpLocks/>
          </p:cNvGrpSpPr>
          <p:nvPr/>
        </p:nvGrpSpPr>
        <p:grpSpPr bwMode="auto">
          <a:xfrm>
            <a:off x="237810" y="8908145"/>
            <a:ext cx="10483532" cy="501939"/>
            <a:chOff x="75" y="3928"/>
            <a:chExt cx="637" cy="222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8"/>
              <a:ext cx="637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292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1" name="5. Source"/>
            <p:cNvSpPr>
              <a:spLocks noChangeArrowheads="1"/>
            </p:cNvSpPr>
            <p:nvPr/>
          </p:nvSpPr>
          <p:spPr bwMode="auto">
            <a:xfrm>
              <a:off x="75" y="4062"/>
              <a:ext cx="608" cy="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74663" indent="-474663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tabLst>
                  <a:tab pos="471488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92" dirty="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033" name="ACET" hidden="1"/>
          <p:cNvGrpSpPr>
            <a:grpSpLocks/>
          </p:cNvGrpSpPr>
          <p:nvPr/>
        </p:nvGrpSpPr>
        <p:grpSpPr bwMode="auto">
          <a:xfrm>
            <a:off x="2075816" y="1964066"/>
            <a:ext cx="6089650" cy="734053"/>
            <a:chOff x="915" y="706"/>
            <a:chExt cx="2686" cy="324"/>
          </a:xfrm>
        </p:grpSpPr>
        <p:cxnSp>
          <p:nvCxnSpPr>
            <p:cNvPr id="1078" name="AutoShape 249"/>
            <p:cNvCxnSpPr>
              <a:cxnSpLocks noChangeShapeType="1"/>
              <a:stCxn id="1079" idx="4"/>
              <a:endCxn id="107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9" name="AutoShape 250"/>
            <p:cNvSpPr>
              <a:spLocks noChangeArrowheads="1"/>
            </p:cNvSpPr>
            <p:nvPr/>
          </p:nvSpPr>
          <p:spPr bwMode="auto">
            <a:xfrm>
              <a:off x="915" y="706"/>
              <a:ext cx="2686" cy="3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27" b="1" dirty="0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327" dirty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1034" name="LegendBoxes" hidden="1"/>
          <p:cNvGrpSpPr>
            <a:grpSpLocks/>
          </p:cNvGrpSpPr>
          <p:nvPr/>
        </p:nvGrpSpPr>
        <p:grpSpPr bwMode="auto">
          <a:xfrm>
            <a:off x="11472545" y="411165"/>
            <a:ext cx="1027724" cy="1404279"/>
            <a:chOff x="4936" y="176"/>
            <a:chExt cx="453" cy="620"/>
          </a:xfrm>
        </p:grpSpPr>
        <p:sp>
          <p:nvSpPr>
            <p:cNvPr id="107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7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7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7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7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80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80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327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35" name="LegendLines" hidden="1"/>
          <p:cNvGrpSpPr>
            <a:grpSpLocks/>
          </p:cNvGrpSpPr>
          <p:nvPr/>
        </p:nvGrpSpPr>
        <p:grpSpPr bwMode="auto">
          <a:xfrm>
            <a:off x="11034722" y="420056"/>
            <a:ext cx="1465653" cy="1017426"/>
            <a:chOff x="4750" y="176"/>
            <a:chExt cx="647" cy="44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6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6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1036" name="McKSticker" hidden="1"/>
          <p:cNvGrpSpPr>
            <a:grpSpLocks/>
          </p:cNvGrpSpPr>
          <p:nvPr/>
        </p:nvGrpSpPr>
        <p:grpSpPr bwMode="auto">
          <a:xfrm>
            <a:off x="11189940" y="428944"/>
            <a:ext cx="1373838" cy="266355"/>
            <a:chOff x="7778000" y="285750"/>
            <a:chExt cx="962775" cy="185774"/>
          </a:xfrm>
        </p:grpSpPr>
        <p:sp>
          <p:nvSpPr>
            <p:cNvPr id="1061" name="StickerRectangle"/>
            <p:cNvSpPr>
              <a:spLocks noChangeArrowheads="1"/>
            </p:cNvSpPr>
            <p:nvPr/>
          </p:nvSpPr>
          <p:spPr bwMode="auto">
            <a:xfrm>
              <a:off x="7778000" y="285750"/>
              <a:ext cx="962775" cy="1857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1062" name="AutoShape 31"/>
            <p:cNvCxnSpPr>
              <a:cxnSpLocks noChangeShapeType="1"/>
              <a:stCxn id="1061" idx="2"/>
              <a:endCxn id="1061" idx="4"/>
            </p:cNvCxnSpPr>
            <p:nvPr/>
          </p:nvCxnSpPr>
          <p:spPr bwMode="auto">
            <a:xfrm>
              <a:off x="7778000" y="285750"/>
              <a:ext cx="0" cy="18577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3" name="AutoShape 32"/>
            <p:cNvCxnSpPr>
              <a:cxnSpLocks noChangeShapeType="1"/>
              <a:stCxn id="1061" idx="4"/>
              <a:endCxn id="1061" idx="6"/>
            </p:cNvCxnSpPr>
            <p:nvPr/>
          </p:nvCxnSpPr>
          <p:spPr bwMode="auto">
            <a:xfrm>
              <a:off x="7778000" y="471524"/>
              <a:ext cx="96277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7" name="LegendMoons" hidden="1"/>
          <p:cNvGrpSpPr>
            <a:grpSpLocks/>
          </p:cNvGrpSpPr>
          <p:nvPr/>
        </p:nvGrpSpPr>
        <p:grpSpPr bwMode="auto">
          <a:xfrm>
            <a:off x="11379206" y="411164"/>
            <a:ext cx="1121438" cy="1864677"/>
            <a:chOff x="6655594" y="273840"/>
            <a:chExt cx="785541" cy="1306516"/>
          </a:xfrm>
        </p:grpSpPr>
        <p:grpSp>
          <p:nvGrpSpPr>
            <p:cNvPr id="1041" name="MoonLegend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2" name="MoonLegend2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1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3" name="MoonLegend4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4" name="MoonLegend5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46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4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4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04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64866" cy="1672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1pPr>
              <a:lvl2pPr marL="742950" indent="-28575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2pPr>
              <a:lvl3pPr marL="11430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3pPr>
              <a:lvl4pPr marL="16002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4pPr>
              <a:lvl5pPr marL="2057400" indent="-228600" defTabSz="906463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5pPr>
              <a:lvl6pPr marL="25146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6pPr>
              <a:lvl7pPr marL="29718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7pPr>
              <a:lvl8pPr marL="34290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8pPr>
              <a:lvl9pPr marL="3886200" indent="-228600" defTabSz="90646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/>
                  <a:cs typeface="ＭＳ Ｐゴシック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US" sz="1551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1050" name="MoonLegend3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1174971">
                  <a:defRPr/>
                </a:pPr>
                <a:endParaRPr lang="en-US" sz="2327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038" name="McK Moon" hidden="1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auto">
          <a:xfrm>
            <a:off x="2995932" y="5551809"/>
            <a:ext cx="362268" cy="362268"/>
            <a:chOff x="1600" y="1600"/>
            <a:chExt cx="160" cy="160"/>
          </a:xfrm>
        </p:grpSpPr>
        <p:sp>
          <p:nvSpPr>
            <p:cNvPr id="89" name="Oval 90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</a:endParaRPr>
            </a:p>
          </p:txBody>
        </p:sp>
        <p:sp>
          <p:nvSpPr>
            <p:cNvPr id="90" name="Arc 91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1174971">
                <a:defRPr/>
              </a:pPr>
              <a:endParaRPr lang="en-US" sz="2327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8658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3" r:id="rId9"/>
  </p:sldLayoutIdLst>
  <p:transition spd="slow" advClick="0" advTm="2000"/>
  <p:hf hdr="0" ftr="0" dt="0"/>
  <p:txStyles>
    <p:titleStyle>
      <a:lvl1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l" defTabSz="1171458" rtl="0" fontAlgn="base">
        <a:spcBef>
          <a:spcPct val="0"/>
        </a:spcBef>
        <a:spcAft>
          <a:spcPct val="0"/>
        </a:spcAft>
        <a:tabLst>
          <a:tab pos="352873" algn="l"/>
        </a:tabLst>
        <a:defRPr sz="2456" b="1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598147" algn="l" defTabSz="1171482" rtl="0" eaLnBrk="1" fontAlgn="base" hangingPunct="1">
        <a:spcBef>
          <a:spcPct val="0"/>
        </a:spcBef>
        <a:spcAft>
          <a:spcPct val="0"/>
        </a:spcAft>
        <a:defRPr sz="2456" b="1">
          <a:solidFill>
            <a:schemeClr val="tx2"/>
          </a:solidFill>
          <a:latin typeface="Arial" charset="0"/>
        </a:defRPr>
      </a:lvl6pPr>
      <a:lvl7pPr marL="1196404" algn="l" defTabSz="1171482" rtl="0" eaLnBrk="1" fontAlgn="base" hangingPunct="1">
        <a:spcBef>
          <a:spcPct val="0"/>
        </a:spcBef>
        <a:spcAft>
          <a:spcPct val="0"/>
        </a:spcAft>
        <a:defRPr sz="2456" b="1">
          <a:solidFill>
            <a:schemeClr val="tx2"/>
          </a:solidFill>
          <a:latin typeface="Arial" charset="0"/>
        </a:defRPr>
      </a:lvl7pPr>
      <a:lvl8pPr marL="1794614" algn="l" defTabSz="1171482" rtl="0" eaLnBrk="1" fontAlgn="base" hangingPunct="1">
        <a:spcBef>
          <a:spcPct val="0"/>
        </a:spcBef>
        <a:spcAft>
          <a:spcPct val="0"/>
        </a:spcAft>
        <a:defRPr sz="2456" b="1">
          <a:solidFill>
            <a:schemeClr val="tx2"/>
          </a:solidFill>
          <a:latin typeface="Arial" charset="0"/>
        </a:defRPr>
      </a:lvl8pPr>
      <a:lvl9pPr marL="2392817" algn="l" defTabSz="1171482" rtl="0" eaLnBrk="1" fontAlgn="base" hangingPunct="1">
        <a:spcBef>
          <a:spcPct val="0"/>
        </a:spcBef>
        <a:spcAft>
          <a:spcPct val="0"/>
        </a:spcAft>
        <a:defRPr sz="2456" b="1">
          <a:solidFill>
            <a:schemeClr val="tx2"/>
          </a:solidFill>
          <a:latin typeface="Arial" charset="0"/>
        </a:defRPr>
      </a:lvl9pPr>
    </p:titleStyle>
    <p:bodyStyle>
      <a:lvl1pPr marL="447247" indent="-447247" algn="l" defTabSz="1171458" rtl="0" fontAlgn="base">
        <a:spcBef>
          <a:spcPct val="0"/>
        </a:spcBef>
        <a:spcAft>
          <a:spcPct val="0"/>
        </a:spcAft>
        <a:buClr>
          <a:schemeClr val="tx2"/>
        </a:buClr>
        <a:defRPr sz="2068">
          <a:solidFill>
            <a:schemeClr val="tx1"/>
          </a:solidFill>
          <a:latin typeface="+mn-lt"/>
          <a:ea typeface="+mn-ea"/>
          <a:cs typeface="ＭＳ Ｐゴシック"/>
        </a:defRPr>
      </a:lvl1pPr>
      <a:lvl2pPr marL="252346" indent="-250293" algn="l" defTabSz="1171458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2068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597013" indent="-342616" algn="l" defTabSz="1171458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2068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802172" indent="-203108" algn="l" defTabSz="1171458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2068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978608" indent="-170282" algn="l" defTabSz="1171458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068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981058" indent="-170323" algn="l" defTabSz="11714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6pPr>
      <a:lvl7pPr marL="981058" indent="-170323" algn="l" defTabSz="11714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7pPr>
      <a:lvl8pPr marL="981058" indent="-170323" algn="l" defTabSz="11714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8pPr>
      <a:lvl9pPr marL="981058" indent="-170323" algn="l" defTabSz="11714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1pPr>
      <a:lvl2pPr marL="598147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2pPr>
      <a:lvl3pPr marL="1196404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3pPr>
      <a:lvl4pPr marL="1794614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4pPr>
      <a:lvl5pPr marL="2392817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5pPr>
      <a:lvl6pPr marL="2991026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6pPr>
      <a:lvl7pPr marL="3589229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7pPr>
      <a:lvl8pPr marL="4187435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8pPr>
      <a:lvl9pPr marL="4785642" algn="l" defTabSz="1196404" rtl="0" eaLnBrk="1" latinLnBrk="0" hangingPunct="1">
        <a:defRPr sz="23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22" imgW="38100" imgH="38100" progId="TCLayout.ActiveDocument.1">
                  <p:embed/>
                </p:oleObj>
              </mc:Choice>
              <mc:Fallback>
                <p:oleObj name="think-cell Slide" r:id="rId22" imgW="38100" imgH="3810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1" y="2786935"/>
            <a:ext cx="6145675" cy="1497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8124" y="344684"/>
            <a:ext cx="12325365" cy="3559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238123" y="38553"/>
            <a:ext cx="1041952" cy="261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en-US" sz="1702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8124" y="759670"/>
            <a:ext cx="12325365" cy="29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946" dirty="0">
                <a:solidFill>
                  <a:srgbClr val="808080"/>
                </a:solidFill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1031" name="McK Slide Elements" hidden="1"/>
          <p:cNvGrpSpPr>
            <a:grpSpLocks/>
          </p:cNvGrpSpPr>
          <p:nvPr/>
        </p:nvGrpSpPr>
        <p:grpSpPr bwMode="auto">
          <a:xfrm>
            <a:off x="238118" y="8864245"/>
            <a:ext cx="10599588" cy="546503"/>
            <a:chOff x="75" y="3909"/>
            <a:chExt cx="644" cy="24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9"/>
              <a:ext cx="644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17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083" name="McK 5. Source"/>
            <p:cNvSpPr>
              <a:spLocks noChangeArrowheads="1"/>
            </p:cNvSpPr>
            <p:nvPr/>
          </p:nvSpPr>
          <p:spPr bwMode="auto">
            <a:xfrm>
              <a:off x="75" y="4067"/>
              <a:ext cx="644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69900" indent="-4699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GB" altLang="en-US" sz="1217" dirty="0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20" y="2081696"/>
            <a:ext cx="6091248" cy="616798"/>
            <a:chOff x="915" y="758"/>
            <a:chExt cx="2686" cy="272"/>
          </a:xfrm>
        </p:grpSpPr>
        <p:cxnSp>
          <p:nvCxnSpPr>
            <p:cNvPr id="1080" name="AutoShape 249"/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081" name="AutoShape 250"/>
            <p:cNvSpPr>
              <a:spLocks noChangeArrowheads="1"/>
            </p:cNvSpPr>
            <p:nvPr/>
          </p:nvSpPr>
          <p:spPr bwMode="auto">
            <a:xfrm>
              <a:off x="915" y="758"/>
              <a:ext cx="2686" cy="2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GB" altLang="en-US" sz="1946" b="1" dirty="0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GB" altLang="en-US" sz="1946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2664" y="410447"/>
            <a:ext cx="988748" cy="1405944"/>
            <a:chOff x="4936" y="176"/>
            <a:chExt cx="436" cy="620"/>
          </a:xfrm>
        </p:grpSpPr>
        <p:sp>
          <p:nvSpPr>
            <p:cNvPr id="107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2700" y="419520"/>
            <a:ext cx="1428694" cy="1004567"/>
            <a:chOff x="4750" y="176"/>
            <a:chExt cx="630" cy="443"/>
          </a:xfrm>
        </p:grpSpPr>
        <p:sp>
          <p:nvSpPr>
            <p:cNvPr id="106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2082" dirty="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6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2082" dirty="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6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2082" dirty="0"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6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1037" name="McKSticker" hidden="1"/>
          <p:cNvGrpSpPr>
            <a:grpSpLocks/>
          </p:cNvGrpSpPr>
          <p:nvPr/>
        </p:nvGrpSpPr>
        <p:grpSpPr bwMode="auto">
          <a:xfrm>
            <a:off x="11272800" y="428587"/>
            <a:ext cx="1290675" cy="252377"/>
            <a:chOff x="7837191" y="285750"/>
            <a:chExt cx="903584" cy="176383"/>
          </a:xfrm>
        </p:grpSpPr>
        <p:sp>
          <p:nvSpPr>
            <p:cNvPr id="1063" name="StickerRectangle"/>
            <p:cNvSpPr>
              <a:spLocks noChangeArrowheads="1"/>
            </p:cNvSpPr>
            <p:nvPr/>
          </p:nvSpPr>
          <p:spPr bwMode="auto">
            <a:xfrm>
              <a:off x="7837191" y="285750"/>
              <a:ext cx="903584" cy="1763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1064" name="AutoShape 31"/>
            <p:cNvCxnSpPr>
              <a:cxnSpLocks noChangeShapeType="1"/>
              <a:stCxn id="1063" idx="2"/>
              <a:endCxn id="1063" idx="4"/>
            </p:cNvCxnSpPr>
            <p:nvPr/>
          </p:nvCxnSpPr>
          <p:spPr bwMode="auto">
            <a:xfrm>
              <a:off x="7837191" y="285750"/>
              <a:ext cx="0" cy="17638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5" name="AutoShape 32"/>
            <p:cNvCxnSpPr>
              <a:cxnSpLocks noChangeShapeType="1"/>
              <a:stCxn id="1063" idx="4"/>
              <a:endCxn id="1063" idx="6"/>
            </p:cNvCxnSpPr>
            <p:nvPr/>
          </p:nvCxnSpPr>
          <p:spPr bwMode="auto">
            <a:xfrm>
              <a:off x="7837191" y="462133"/>
              <a:ext cx="90358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7450" y="410447"/>
            <a:ext cx="1083262" cy="1866268"/>
            <a:chOff x="6655594" y="273840"/>
            <a:chExt cx="758463" cy="1306516"/>
          </a:xfrm>
        </p:grpSpPr>
        <p:grpSp>
          <p:nvGrpSpPr>
            <p:cNvPr id="10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  <p:grpSp>
          <p:nvGrpSpPr>
            <p:cNvPr id="10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  <p:grpSp>
          <p:nvGrpSpPr>
            <p:cNvPr id="10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  <p:grpSp>
          <p:nvGrpSpPr>
            <p:cNvPr id="10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w 10000"/>
                  <a:gd name="T9" fmla="*/ 0 h 1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  <p:sp>
          <p:nvSpPr>
            <p:cNvPr id="1047" name="Legend1"/>
            <p:cNvSpPr>
              <a:spLocks noChangeArrowheads="1"/>
            </p:cNvSpPr>
            <p:nvPr/>
          </p:nvSpPr>
          <p:spPr bwMode="auto">
            <a:xfrm>
              <a:off x="6976334" y="286540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48" name="Legend2"/>
            <p:cNvSpPr>
              <a:spLocks noChangeArrowheads="1"/>
            </p:cNvSpPr>
            <p:nvPr/>
          </p:nvSpPr>
          <p:spPr bwMode="auto">
            <a:xfrm>
              <a:off x="6976334" y="561178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49" name="Legend3"/>
            <p:cNvSpPr>
              <a:spLocks noChangeArrowheads="1"/>
            </p:cNvSpPr>
            <p:nvPr/>
          </p:nvSpPr>
          <p:spPr bwMode="auto">
            <a:xfrm>
              <a:off x="6976334" y="835817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50" name="Legend4"/>
            <p:cNvSpPr>
              <a:spLocks noChangeArrowheads="1"/>
            </p:cNvSpPr>
            <p:nvPr/>
          </p:nvSpPr>
          <p:spPr bwMode="auto">
            <a:xfrm>
              <a:off x="6976334" y="1107280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51" name="Legend5"/>
            <p:cNvSpPr>
              <a:spLocks noChangeArrowheads="1"/>
            </p:cNvSpPr>
            <p:nvPr/>
          </p:nvSpPr>
          <p:spPr bwMode="auto">
            <a:xfrm>
              <a:off x="6976334" y="1383505"/>
              <a:ext cx="437723" cy="1572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US" sz="1460" dirty="0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1052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/>
                <a:endParaRPr lang="en-GB" altLang="en-US" sz="1946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5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ZA" sz="2082" dirty="0"/>
              </a:p>
            </p:txBody>
          </p:sp>
        </p:grpSp>
      </p:grpSp>
      <p:grpSp>
        <p:nvGrpSpPr>
          <p:cNvPr id="1040" name="McK Moon" hidden="1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9789993" y="1496651"/>
            <a:ext cx="362844" cy="362823"/>
            <a:chOff x="1600" y="1600"/>
            <a:chExt cx="160" cy="160"/>
          </a:xfrm>
        </p:grpSpPr>
        <p:sp>
          <p:nvSpPr>
            <p:cNvPr id="1041" name="Oval 90"/>
            <p:cNvSpPr>
              <a:spLocks noChangeAspect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en-GB" altLang="en-US" sz="1946" dirty="0"/>
            </a:p>
          </p:txBody>
        </p:sp>
        <p:sp>
          <p:nvSpPr>
            <p:cNvPr id="1042" name="Arc 9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00" y="1600"/>
              <a:ext cx="160" cy="160"/>
            </a:xfrm>
            <a:custGeom>
              <a:avLst/>
              <a:gdLst>
                <a:gd name="T0" fmla="*/ 0 w 10000"/>
                <a:gd name="T1" fmla="*/ 0 h 10000"/>
                <a:gd name="T2" fmla="*/ 0 w 10000"/>
                <a:gd name="T3" fmla="*/ 0 h 1000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000" h="10000" stroke="0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  <a:lnTo>
                    <a:pt x="5000" y="5000"/>
                  </a:lnTo>
                  <a:lnTo>
                    <a:pt x="5000" y="0"/>
                  </a:lnTo>
                  <a:close/>
                </a:path>
                <a:path w="10000" h="10000" fill="none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</a:path>
              </a:pathLst>
            </a:custGeom>
            <a:solidFill>
              <a:srgbClr val="3D6E4D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ZA" sz="2082" dirty="0"/>
            </a:p>
          </p:txBody>
        </p:sp>
      </p:grpSp>
    </p:spTree>
    <p:extLst>
      <p:ext uri="{BB962C8B-B14F-4D97-AF65-F5344CB8AC3E}">
        <p14:creationId xmlns:p14="http://schemas.microsoft.com/office/powerpoint/2010/main" val="3856688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1089771" rtl="0" eaLnBrk="0" fontAlgn="base" hangingPunct="0">
        <a:spcBef>
          <a:spcPct val="0"/>
        </a:spcBef>
        <a:spcAft>
          <a:spcPct val="0"/>
        </a:spcAft>
        <a:tabLst>
          <a:tab pos="328475" algn="l"/>
        </a:tabLst>
        <a:defRPr sz="2313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556478" algn="l" defTabSz="1089771" rtl="0" eaLnBrk="1" fontAlgn="base" hangingPunct="1">
        <a:spcBef>
          <a:spcPct val="0"/>
        </a:spcBef>
        <a:spcAft>
          <a:spcPct val="0"/>
        </a:spcAft>
        <a:defRPr sz="2313" b="1">
          <a:solidFill>
            <a:schemeClr val="tx2"/>
          </a:solidFill>
          <a:latin typeface="Arial" charset="0"/>
        </a:defRPr>
      </a:lvl6pPr>
      <a:lvl7pPr marL="1112957" algn="l" defTabSz="1089771" rtl="0" eaLnBrk="1" fontAlgn="base" hangingPunct="1">
        <a:spcBef>
          <a:spcPct val="0"/>
        </a:spcBef>
        <a:spcAft>
          <a:spcPct val="0"/>
        </a:spcAft>
        <a:defRPr sz="2313" b="1">
          <a:solidFill>
            <a:schemeClr val="tx2"/>
          </a:solidFill>
          <a:latin typeface="Arial" charset="0"/>
        </a:defRPr>
      </a:lvl7pPr>
      <a:lvl8pPr marL="1669434" algn="l" defTabSz="1089771" rtl="0" eaLnBrk="1" fontAlgn="base" hangingPunct="1">
        <a:spcBef>
          <a:spcPct val="0"/>
        </a:spcBef>
        <a:spcAft>
          <a:spcPct val="0"/>
        </a:spcAft>
        <a:defRPr sz="2313" b="1">
          <a:solidFill>
            <a:schemeClr val="tx2"/>
          </a:solidFill>
          <a:latin typeface="Arial" charset="0"/>
        </a:defRPr>
      </a:lvl8pPr>
      <a:lvl9pPr marL="2225913" algn="l" defTabSz="1089771" rtl="0" eaLnBrk="1" fontAlgn="base" hangingPunct="1">
        <a:spcBef>
          <a:spcPct val="0"/>
        </a:spcBef>
        <a:spcAft>
          <a:spcPct val="0"/>
        </a:spcAft>
        <a:defRPr sz="2313" b="1">
          <a:solidFill>
            <a:schemeClr val="tx2"/>
          </a:solidFill>
          <a:latin typeface="Arial" charset="0"/>
        </a:defRPr>
      </a:lvl9pPr>
    </p:titleStyle>
    <p:bodyStyle>
      <a:lvl1pPr marL="417360" indent="-417360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946">
          <a:solidFill>
            <a:schemeClr val="tx1"/>
          </a:solidFill>
          <a:latin typeface="+mn-lt"/>
          <a:ea typeface="+mn-ea"/>
          <a:cs typeface="+mn-cs"/>
        </a:defRPr>
      </a:lvl1pPr>
      <a:lvl2pPr marL="235732" indent="-233799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946">
          <a:solidFill>
            <a:schemeClr val="tx1"/>
          </a:solidFill>
          <a:latin typeface="+mn-lt"/>
          <a:ea typeface="ＭＳ Ｐゴシック" pitchFamily="34" charset="-128"/>
        </a:defRPr>
      </a:lvl2pPr>
      <a:lvl3pPr marL="556478" indent="-318815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946">
          <a:solidFill>
            <a:schemeClr val="tx1"/>
          </a:solidFill>
          <a:latin typeface="+mn-lt"/>
          <a:ea typeface="ＭＳ Ｐゴシック" pitchFamily="34" charset="-128"/>
        </a:defRPr>
      </a:lvl3pPr>
      <a:lvl4pPr marL="747769" indent="-189357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946">
          <a:solidFill>
            <a:schemeClr val="tx1"/>
          </a:solidFill>
          <a:latin typeface="+mn-lt"/>
          <a:ea typeface="ＭＳ Ｐゴシック" pitchFamily="34" charset="-128"/>
        </a:defRPr>
      </a:lvl4pPr>
      <a:lvl5pPr marL="912008" indent="-158444" algn="l" defTabSz="108977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946">
          <a:solidFill>
            <a:schemeClr val="tx1"/>
          </a:solidFill>
          <a:latin typeface="+mn-lt"/>
          <a:ea typeface="ＭＳ Ｐゴシック" pitchFamily="34" charset="-128"/>
        </a:defRPr>
      </a:lvl5pPr>
      <a:lvl6pPr marL="912625" indent="-158444" algn="l" defTabSz="10897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46" baseline="0">
          <a:solidFill>
            <a:schemeClr val="tx1"/>
          </a:solidFill>
          <a:latin typeface="+mn-lt"/>
        </a:defRPr>
      </a:lvl6pPr>
      <a:lvl7pPr marL="912625" indent="-158444" algn="l" defTabSz="10897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46" baseline="0">
          <a:solidFill>
            <a:schemeClr val="tx1"/>
          </a:solidFill>
          <a:latin typeface="+mn-lt"/>
        </a:defRPr>
      </a:lvl7pPr>
      <a:lvl8pPr marL="912625" indent="-158444" algn="l" defTabSz="10897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46" baseline="0">
          <a:solidFill>
            <a:schemeClr val="tx1"/>
          </a:solidFill>
          <a:latin typeface="+mn-lt"/>
        </a:defRPr>
      </a:lvl8pPr>
      <a:lvl9pPr marL="912625" indent="-158444" algn="l" defTabSz="108977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4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1pPr>
      <a:lvl2pPr marL="556478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2pPr>
      <a:lvl3pPr marL="1112957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3pPr>
      <a:lvl4pPr marL="1669434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4pPr>
      <a:lvl5pPr marL="2225913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5pPr>
      <a:lvl6pPr marL="2782392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6pPr>
      <a:lvl7pPr marL="3338871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7pPr>
      <a:lvl8pPr marL="3895349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8pPr>
      <a:lvl9pPr marL="4451826" algn="l" defTabSz="1112957" rtl="0" eaLnBrk="1" latinLnBrk="0" hangingPunct="1">
        <a:defRPr sz="219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>
            <a:extLst>
              <a:ext uri="{FF2B5EF4-FFF2-40B4-BE49-F238E27FC236}">
                <a16:creationId xmlns:a16="http://schemas.microsoft.com/office/drawing/2014/main" id="{603FB227-A62E-4AE4-8EA3-655081D21848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" y="2"/>
          <a:ext cx="227721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6146" name="Object 1" hidden="1">
                        <a:extLst>
                          <a:ext uri="{FF2B5EF4-FFF2-40B4-BE49-F238E27FC236}">
                            <a16:creationId xmlns:a16="http://schemas.microsoft.com/office/drawing/2014/main" id="{603FB227-A62E-4AE4-8EA3-655081D218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2"/>
                        <a:ext cx="227721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Rectangle 286">
            <a:extLst>
              <a:ext uri="{FF2B5EF4-FFF2-40B4-BE49-F238E27FC236}">
                <a16:creationId xmlns:a16="http://schemas.microsoft.com/office/drawing/2014/main" id="{322AC66F-1992-4429-B61A-29BBE268945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159" y="2787017"/>
            <a:ext cx="6144358" cy="1560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GB"/>
              <a:t>Click to edit Master text styles</a:t>
            </a:r>
          </a:p>
          <a:p>
            <a:pPr lvl="1"/>
            <a:r>
              <a:rPr lang="en-GB" altLang="en-GB"/>
              <a:t>Second level</a:t>
            </a:r>
          </a:p>
          <a:p>
            <a:pPr lvl="2"/>
            <a:r>
              <a:rPr lang="en-GB" altLang="en-GB"/>
              <a:t>Third level</a:t>
            </a:r>
          </a:p>
          <a:p>
            <a:pPr lvl="3"/>
            <a:r>
              <a:rPr lang="en-GB" altLang="en-GB"/>
              <a:t>Fourth level</a:t>
            </a:r>
          </a:p>
          <a:p>
            <a:pPr lvl="4"/>
            <a:r>
              <a:rPr lang="en-GB" altLang="en-GB"/>
              <a:t>Fifth level</a:t>
            </a:r>
          </a:p>
        </p:txBody>
      </p:sp>
      <p:sp>
        <p:nvSpPr>
          <p:cNvPr id="6148" name="Title Placeholder 2">
            <a:extLst>
              <a:ext uri="{FF2B5EF4-FFF2-40B4-BE49-F238E27FC236}">
                <a16:creationId xmlns:a16="http://schemas.microsoft.com/office/drawing/2014/main" id="{76D1E0D2-7AE3-47F8-91F8-EBBF6CEA03A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7980" y="344488"/>
            <a:ext cx="12325643" cy="367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GB"/>
              <a:t>Click to edit Master title style</a:t>
            </a:r>
          </a:p>
        </p:txBody>
      </p:sp>
      <p:sp>
        <p:nvSpPr>
          <p:cNvPr id="6149" name="McK 1. On-page tracker" hidden="1">
            <a:extLst>
              <a:ext uri="{FF2B5EF4-FFF2-40B4-BE49-F238E27FC236}">
                <a16:creationId xmlns:a16="http://schemas.microsoft.com/office/drawing/2014/main" id="{01173FB4-167D-40CF-A009-6CEB336D11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978" y="37783"/>
            <a:ext cx="1112484" cy="27841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NG" sz="1809">
                <a:solidFill>
                  <a:srgbClr val="808080"/>
                </a:solidFill>
                <a:latin typeface="Arial" panose="020B0604020202020204" pitchFamily="34" charset="0"/>
              </a:rPr>
              <a:t>TRACKER</a:t>
            </a:r>
          </a:p>
        </p:txBody>
      </p:sp>
      <p:sp>
        <p:nvSpPr>
          <p:cNvPr id="11" name="McK 3. Unit of measure" hidden="1">
            <a:extLst>
              <a:ext uri="{FF2B5EF4-FFF2-40B4-BE49-F238E27FC236}">
                <a16:creationId xmlns:a16="http://schemas.microsoft.com/office/drawing/2014/main" id="{724070F9-A61B-4575-8D2E-337949C899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7980" y="760096"/>
            <a:ext cx="12325643" cy="31822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2068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6151" name="McK Slide Elements" hidden="1">
            <a:extLst>
              <a:ext uri="{FF2B5EF4-FFF2-40B4-BE49-F238E27FC236}">
                <a16:creationId xmlns:a16="http://schemas.microsoft.com/office/drawing/2014/main" id="{359D0588-0A2A-4339-8577-C681B55D4762}"/>
              </a:ext>
            </a:extLst>
          </p:cNvPr>
          <p:cNvGrpSpPr>
            <a:grpSpLocks/>
          </p:cNvGrpSpPr>
          <p:nvPr/>
        </p:nvGrpSpPr>
        <p:grpSpPr bwMode="auto">
          <a:xfrm>
            <a:off x="237980" y="8852863"/>
            <a:ext cx="10598248" cy="557210"/>
            <a:chOff x="75" y="3904"/>
            <a:chExt cx="644" cy="246"/>
          </a:xfrm>
        </p:grpSpPr>
        <p:sp>
          <p:nvSpPr>
            <p:cNvPr id="13" name="McK 4. Footnote">
              <a:extLst>
                <a:ext uri="{FF2B5EF4-FFF2-40B4-BE49-F238E27FC236}">
                  <a16:creationId xmlns:a16="http://schemas.microsoft.com/office/drawing/2014/main" id="{9292A491-E55F-4EFA-991F-401161B61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" y="3904"/>
              <a:ext cx="644" cy="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292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6201" name="McK 5. Source">
              <a:extLst>
                <a:ext uri="{FF2B5EF4-FFF2-40B4-BE49-F238E27FC236}">
                  <a16:creationId xmlns:a16="http://schemas.microsoft.com/office/drawing/2014/main" id="{DB397870-C57C-4540-B3AB-873A93DECE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" y="4062"/>
              <a:ext cx="644" cy="8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479425" indent="-479425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4663" algn="l"/>
                </a:tabLs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GB" altLang="en-NG" sz="1292">
                  <a:solidFill>
                    <a:srgbClr val="000000"/>
                  </a:solidFill>
                  <a:latin typeface="Arial" panose="020B0604020202020204" pitchFamily="34" charset="0"/>
                </a:rPr>
                <a:t>Source: NNPC steer-co decisions; team analysis</a:t>
              </a:r>
            </a:p>
          </p:txBody>
        </p:sp>
      </p:grpSp>
      <p:grpSp>
        <p:nvGrpSpPr>
          <p:cNvPr id="6152" name="ACET" hidden="1">
            <a:extLst>
              <a:ext uri="{FF2B5EF4-FFF2-40B4-BE49-F238E27FC236}">
                <a16:creationId xmlns:a16="http://schemas.microsoft.com/office/drawing/2014/main" id="{FDCDE0E8-6D39-4CFE-95F4-732F98CCEE98}"/>
              </a:ext>
            </a:extLst>
          </p:cNvPr>
          <p:cNvGrpSpPr>
            <a:grpSpLocks/>
          </p:cNvGrpSpPr>
          <p:nvPr/>
        </p:nvGrpSpPr>
        <p:grpSpPr bwMode="auto">
          <a:xfrm>
            <a:off x="2076157" y="2042251"/>
            <a:ext cx="6088966" cy="655865"/>
            <a:chOff x="915" y="740"/>
            <a:chExt cx="2686" cy="290"/>
          </a:xfrm>
        </p:grpSpPr>
        <p:cxnSp>
          <p:nvCxnSpPr>
            <p:cNvPr id="6198" name="AutoShape 249">
              <a:extLst>
                <a:ext uri="{FF2B5EF4-FFF2-40B4-BE49-F238E27FC236}">
                  <a16:creationId xmlns:a16="http://schemas.microsoft.com/office/drawing/2014/main" id="{4F2DA368-A3E3-4656-B4E4-431A6F2B9F58}"/>
                </a:ext>
              </a:extLst>
            </p:cNvPr>
            <p:cNvCxnSpPr>
              <a:cxnSpLocks noChangeShapeType="1"/>
              <a:stCxn id="6199" idx="4"/>
              <a:endCxn id="619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199" name="AutoShape 250">
              <a:extLst>
                <a:ext uri="{FF2B5EF4-FFF2-40B4-BE49-F238E27FC236}">
                  <a16:creationId xmlns:a16="http://schemas.microsoft.com/office/drawing/2014/main" id="{37018771-EA31-4E76-9C30-8F91438821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40"/>
              <a:ext cx="2686" cy="29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GB" altLang="en-NG" sz="2068" b="1">
                  <a:solidFill>
                    <a:srgbClr val="000000"/>
                  </a:solidFill>
                  <a:latin typeface="Arial" panose="020B06040202020202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GB" altLang="en-NG" sz="2068">
                  <a:solidFill>
                    <a:srgbClr val="808080"/>
                  </a:solidFill>
                  <a:latin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6153" name="LegendBoxes" hidden="1">
            <a:extLst>
              <a:ext uri="{FF2B5EF4-FFF2-40B4-BE49-F238E27FC236}">
                <a16:creationId xmlns:a16="http://schemas.microsoft.com/office/drawing/2014/main" id="{04083606-798D-4ADA-A336-2E257BE7A6FA}"/>
              </a:ext>
            </a:extLst>
          </p:cNvPr>
          <p:cNvGrpSpPr>
            <a:grpSpLocks/>
          </p:cNvGrpSpPr>
          <p:nvPr/>
        </p:nvGrpSpPr>
        <p:grpSpPr bwMode="auto">
          <a:xfrm>
            <a:off x="11472193" y="411163"/>
            <a:ext cx="1026234" cy="1403948"/>
            <a:chOff x="4936" y="176"/>
            <a:chExt cx="452" cy="620"/>
          </a:xfrm>
        </p:grpSpPr>
        <p:sp>
          <p:nvSpPr>
            <p:cNvPr id="6190" name="Legend1">
              <a:extLst>
                <a:ext uri="{FF2B5EF4-FFF2-40B4-BE49-F238E27FC236}">
                  <a16:creationId xmlns:a16="http://schemas.microsoft.com/office/drawing/2014/main" id="{EC4B1BFC-D641-460A-80A7-013A96E2B5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92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91" name="LegendRectangle1">
              <a:extLst>
                <a:ext uri="{FF2B5EF4-FFF2-40B4-BE49-F238E27FC236}">
                  <a16:creationId xmlns:a16="http://schemas.microsoft.com/office/drawing/2014/main" id="{0E18BB5E-E85F-4639-AF7F-FE367B064C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NG" sz="2068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92" name="Legend2">
              <a:extLst>
                <a:ext uri="{FF2B5EF4-FFF2-40B4-BE49-F238E27FC236}">
                  <a16:creationId xmlns:a16="http://schemas.microsoft.com/office/drawing/2014/main" id="{54C44112-C666-4E8B-B8E5-EA99AA315F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92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93" name="LegendRectangle2">
              <a:extLst>
                <a:ext uri="{FF2B5EF4-FFF2-40B4-BE49-F238E27FC236}">
                  <a16:creationId xmlns:a16="http://schemas.microsoft.com/office/drawing/2014/main" id="{75D39EA1-BB3B-4625-A5F0-3D65ABC5E2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NG" sz="2068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94" name="Legend3">
              <a:extLst>
                <a:ext uri="{FF2B5EF4-FFF2-40B4-BE49-F238E27FC236}">
                  <a16:creationId xmlns:a16="http://schemas.microsoft.com/office/drawing/2014/main" id="{3B456524-00FA-4324-9F42-0372791B90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92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95" name="LegendRectangle3">
              <a:extLst>
                <a:ext uri="{FF2B5EF4-FFF2-40B4-BE49-F238E27FC236}">
                  <a16:creationId xmlns:a16="http://schemas.microsoft.com/office/drawing/2014/main" id="{6ACCAE94-E8A5-4893-9BE8-F89FC9723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98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NG" sz="2068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196" name="Legend4">
              <a:extLst>
                <a:ext uri="{FF2B5EF4-FFF2-40B4-BE49-F238E27FC236}">
                  <a16:creationId xmlns:a16="http://schemas.microsoft.com/office/drawing/2014/main" id="{5107CECE-4CE9-4FB3-8CDB-A6EB7443A3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92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97" name="LegendRectangle4">
              <a:extLst>
                <a:ext uri="{FF2B5EF4-FFF2-40B4-BE49-F238E27FC236}">
                  <a16:creationId xmlns:a16="http://schemas.microsoft.com/office/drawing/2014/main" id="{CDC1AA07-2975-4C9B-B64C-F79AC7BCA7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GB" altLang="en-NG" sz="2068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6154" name="LegendLines" hidden="1">
            <a:extLst>
              <a:ext uri="{FF2B5EF4-FFF2-40B4-BE49-F238E27FC236}">
                <a16:creationId xmlns:a16="http://schemas.microsoft.com/office/drawing/2014/main" id="{61D69F0A-994A-4849-B79C-9A56D8A2ED19}"/>
              </a:ext>
            </a:extLst>
          </p:cNvPr>
          <p:cNvGrpSpPr>
            <a:grpSpLocks/>
          </p:cNvGrpSpPr>
          <p:nvPr/>
        </p:nvGrpSpPr>
        <p:grpSpPr bwMode="auto">
          <a:xfrm>
            <a:off x="11035220" y="420054"/>
            <a:ext cx="1465609" cy="1017091"/>
            <a:chOff x="4750" y="176"/>
            <a:chExt cx="647" cy="449"/>
          </a:xfrm>
        </p:grpSpPr>
        <p:sp>
          <p:nvSpPr>
            <p:cNvPr id="33" name="LineLegend1">
              <a:extLst>
                <a:ext uri="{FF2B5EF4-FFF2-40B4-BE49-F238E27FC236}">
                  <a16:creationId xmlns:a16="http://schemas.microsoft.com/office/drawing/2014/main" id="{409110DD-C590-4F6B-B88A-77D8915EBD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34" name="LineLegend2">
              <a:extLst>
                <a:ext uri="{FF2B5EF4-FFF2-40B4-BE49-F238E27FC236}">
                  <a16:creationId xmlns:a16="http://schemas.microsoft.com/office/drawing/2014/main" id="{A0839EF5-E7FE-4BE7-A10F-E30B0C6FD9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35" name="LineLegend3">
              <a:extLst>
                <a:ext uri="{FF2B5EF4-FFF2-40B4-BE49-F238E27FC236}">
                  <a16:creationId xmlns:a16="http://schemas.microsoft.com/office/drawing/2014/main" id="{EF1FD2D5-8D7B-4C51-A932-A21CF964F91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6187" name="Legend1">
              <a:extLst>
                <a:ext uri="{FF2B5EF4-FFF2-40B4-BE49-F238E27FC236}">
                  <a16:creationId xmlns:a16="http://schemas.microsoft.com/office/drawing/2014/main" id="{03286B50-55D6-4D58-A447-72C917570E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88" name="Legend2">
              <a:extLst>
                <a:ext uri="{FF2B5EF4-FFF2-40B4-BE49-F238E27FC236}">
                  <a16:creationId xmlns:a16="http://schemas.microsoft.com/office/drawing/2014/main" id="{7E20F1FD-6AC7-45F2-B68B-C6E986109F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89" name="Legend3">
              <a:extLst>
                <a:ext uri="{FF2B5EF4-FFF2-40B4-BE49-F238E27FC236}">
                  <a16:creationId xmlns:a16="http://schemas.microsoft.com/office/drawing/2014/main" id="{019189E7-FB5D-4DF4-A7C1-4E05A1786E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93" cy="10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6155" name="McKSticker" hidden="1">
            <a:extLst>
              <a:ext uri="{FF2B5EF4-FFF2-40B4-BE49-F238E27FC236}">
                <a16:creationId xmlns:a16="http://schemas.microsoft.com/office/drawing/2014/main" id="{35C5108D-2889-46CB-8121-03AB8DC455C9}"/>
              </a:ext>
            </a:extLst>
          </p:cNvPr>
          <p:cNvGrpSpPr>
            <a:grpSpLocks/>
          </p:cNvGrpSpPr>
          <p:nvPr/>
        </p:nvGrpSpPr>
        <p:grpSpPr bwMode="auto">
          <a:xfrm>
            <a:off x="11189784" y="428943"/>
            <a:ext cx="1373838" cy="266354"/>
            <a:chOff x="7777436" y="285750"/>
            <a:chExt cx="963339" cy="186381"/>
          </a:xfrm>
        </p:grpSpPr>
        <p:sp>
          <p:nvSpPr>
            <p:cNvPr id="6181" name="StickerRectangle">
              <a:extLst>
                <a:ext uri="{FF2B5EF4-FFF2-40B4-BE49-F238E27FC236}">
                  <a16:creationId xmlns:a16="http://schemas.microsoft.com/office/drawing/2014/main" id="{B6EBC71F-8BA7-480C-BFB9-93B335C4C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7436" y="285750"/>
              <a:ext cx="963339" cy="18638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808080"/>
                  </a:solidFill>
                  <a:latin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6182" name="AutoShape 31">
              <a:extLst>
                <a:ext uri="{FF2B5EF4-FFF2-40B4-BE49-F238E27FC236}">
                  <a16:creationId xmlns:a16="http://schemas.microsoft.com/office/drawing/2014/main" id="{E8D065CF-8609-4E5A-803A-DD48797DAD34}"/>
                </a:ext>
              </a:extLst>
            </p:cNvPr>
            <p:cNvCxnSpPr>
              <a:cxnSpLocks noChangeShapeType="1"/>
              <a:stCxn id="6181" idx="2"/>
              <a:endCxn id="6181" idx="4"/>
            </p:cNvCxnSpPr>
            <p:nvPr/>
          </p:nvCxnSpPr>
          <p:spPr bwMode="auto">
            <a:xfrm>
              <a:off x="7777436" y="285750"/>
              <a:ext cx="0" cy="18638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83" name="AutoShape 32">
              <a:extLst>
                <a:ext uri="{FF2B5EF4-FFF2-40B4-BE49-F238E27FC236}">
                  <a16:creationId xmlns:a16="http://schemas.microsoft.com/office/drawing/2014/main" id="{F1CD70AF-EF50-4AB5-B23D-B02CB0F0B08A}"/>
                </a:ext>
              </a:extLst>
            </p:cNvPr>
            <p:cNvCxnSpPr>
              <a:cxnSpLocks noChangeShapeType="1"/>
              <a:stCxn id="6181" idx="4"/>
              <a:endCxn id="6181" idx="6"/>
            </p:cNvCxnSpPr>
            <p:nvPr/>
          </p:nvCxnSpPr>
          <p:spPr bwMode="auto">
            <a:xfrm>
              <a:off x="7777436" y="472131"/>
              <a:ext cx="96333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56" name="LegendMoons" hidden="1">
            <a:extLst>
              <a:ext uri="{FF2B5EF4-FFF2-40B4-BE49-F238E27FC236}">
                <a16:creationId xmlns:a16="http://schemas.microsoft.com/office/drawing/2014/main" id="{FB453258-D66C-4F62-9EA6-8BA8C7F7620E}"/>
              </a:ext>
            </a:extLst>
          </p:cNvPr>
          <p:cNvGrpSpPr>
            <a:grpSpLocks/>
          </p:cNvGrpSpPr>
          <p:nvPr/>
        </p:nvGrpSpPr>
        <p:grpSpPr bwMode="auto">
          <a:xfrm>
            <a:off x="11379880" y="411165"/>
            <a:ext cx="1121135" cy="1864635"/>
            <a:chOff x="6655594" y="273840"/>
            <a:chExt cx="786719" cy="1306516"/>
          </a:xfrm>
        </p:grpSpPr>
        <p:grpSp>
          <p:nvGrpSpPr>
            <p:cNvPr id="6161" name="MoonLegend1">
              <a:extLst>
                <a:ext uri="{FF2B5EF4-FFF2-40B4-BE49-F238E27FC236}">
                  <a16:creationId xmlns:a16="http://schemas.microsoft.com/office/drawing/2014/main" id="{1FBC7296-A8D1-4564-8491-13994BDCF25F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>
                <a:extLst>
                  <a:ext uri="{FF2B5EF4-FFF2-40B4-BE49-F238E27FC236}">
                    <a16:creationId xmlns:a16="http://schemas.microsoft.com/office/drawing/2014/main" id="{BF9F8C2A-E765-409A-9B2C-5988EF3DF25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38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63" name="Arc 39">
                <a:extLst>
                  <a:ext uri="{FF2B5EF4-FFF2-40B4-BE49-F238E27FC236}">
                    <a16:creationId xmlns:a16="http://schemas.microsoft.com/office/drawing/2014/main" id="{1CF26AC1-A152-41F4-9BE8-4E6DCF949D7E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38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6162" name="MoonLegend2">
              <a:extLst>
                <a:ext uri="{FF2B5EF4-FFF2-40B4-BE49-F238E27FC236}">
                  <a16:creationId xmlns:a16="http://schemas.microsoft.com/office/drawing/2014/main" id="{3F25B43A-0BEC-4291-8283-D786E63F2B4A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>
                <a:extLst>
                  <a:ext uri="{FF2B5EF4-FFF2-40B4-BE49-F238E27FC236}">
                    <a16:creationId xmlns:a16="http://schemas.microsoft.com/office/drawing/2014/main" id="{2919BA57-9E52-4AE4-BB1A-0B899EEB7D1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56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61" name="Arc 42">
                <a:extLst>
                  <a:ext uri="{FF2B5EF4-FFF2-40B4-BE49-F238E27FC236}">
                    <a16:creationId xmlns:a16="http://schemas.microsoft.com/office/drawing/2014/main" id="{6F14BD5C-D3EF-4A2B-94C1-DFA284BBD146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56" cy="164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6163" name="MoonLegend4">
              <a:extLst>
                <a:ext uri="{FF2B5EF4-FFF2-40B4-BE49-F238E27FC236}">
                  <a16:creationId xmlns:a16="http://schemas.microsoft.com/office/drawing/2014/main" id="{F6669742-A5FE-4731-9C65-052F2101E234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>
                <a:extLst>
                  <a:ext uri="{FF2B5EF4-FFF2-40B4-BE49-F238E27FC236}">
                    <a16:creationId xmlns:a16="http://schemas.microsoft.com/office/drawing/2014/main" id="{35BA6A5E-5ECA-4722-BBBE-03F40D6A6D4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56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9" name="Arc 48">
                <a:extLst>
                  <a:ext uri="{FF2B5EF4-FFF2-40B4-BE49-F238E27FC236}">
                    <a16:creationId xmlns:a16="http://schemas.microsoft.com/office/drawing/2014/main" id="{69763151-0A96-4A81-A0EC-AF30856B45D5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56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6164" name="MoonLegend5">
              <a:extLst>
                <a:ext uri="{FF2B5EF4-FFF2-40B4-BE49-F238E27FC236}">
                  <a16:creationId xmlns:a16="http://schemas.microsoft.com/office/drawing/2014/main" id="{C2CF646E-68DF-4DF1-8C76-D085D2115977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>
                <a:extLst>
                  <a:ext uri="{FF2B5EF4-FFF2-40B4-BE49-F238E27FC236}">
                    <a16:creationId xmlns:a16="http://schemas.microsoft.com/office/drawing/2014/main" id="{53D0CF6F-1354-4257-96E7-8FA0D9ECD84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36"/>
                <a:ext cx="156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7" name="Oval 51">
                <a:extLst>
                  <a:ext uri="{FF2B5EF4-FFF2-40B4-BE49-F238E27FC236}">
                    <a16:creationId xmlns:a16="http://schemas.microsoft.com/office/drawing/2014/main" id="{441D9FAB-36AC-4C47-BF2C-53CD046F4F1B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36"/>
                <a:ext cx="156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  <p:sp>
          <p:nvSpPr>
            <p:cNvPr id="6165" name="Legend1">
              <a:extLst>
                <a:ext uri="{FF2B5EF4-FFF2-40B4-BE49-F238E27FC236}">
                  <a16:creationId xmlns:a16="http://schemas.microsoft.com/office/drawing/2014/main" id="{8D42F6C2-AAB0-4AA4-94D6-6B8250445F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286298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66" name="Legend2">
              <a:extLst>
                <a:ext uri="{FF2B5EF4-FFF2-40B4-BE49-F238E27FC236}">
                  <a16:creationId xmlns:a16="http://schemas.microsoft.com/office/drawing/2014/main" id="{3802E19E-3FBD-45DE-B5B9-BDFFE936B9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561934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67" name="Legend3">
              <a:extLst>
                <a:ext uri="{FF2B5EF4-FFF2-40B4-BE49-F238E27FC236}">
                  <a16:creationId xmlns:a16="http://schemas.microsoft.com/office/drawing/2014/main" id="{0BE8964B-5C2C-4855-8B59-033E6EC739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836012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68" name="Legend4">
              <a:extLst>
                <a:ext uri="{FF2B5EF4-FFF2-40B4-BE49-F238E27FC236}">
                  <a16:creationId xmlns:a16="http://schemas.microsoft.com/office/drawing/2014/main" id="{CBE7CBD4-9E14-4D1E-8F6F-BA77F174F5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1106976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sp>
          <p:nvSpPr>
            <p:cNvPr id="6169" name="Legend5">
              <a:extLst>
                <a:ext uri="{FF2B5EF4-FFF2-40B4-BE49-F238E27FC236}">
                  <a16:creationId xmlns:a16="http://schemas.microsoft.com/office/drawing/2014/main" id="{EF7DAB29-AF75-448F-A7DA-1958994D8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624" y="1384170"/>
              <a:ext cx="465689" cy="1672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3D6E4D"/>
                </a:buClr>
                <a:defRPr/>
              </a:pPr>
              <a:r>
                <a:rPr lang="en-GB" altLang="en-NG" sz="1551">
                  <a:solidFill>
                    <a:srgbClr val="000000"/>
                  </a:solidFill>
                  <a:latin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6170" name="MoonLegend3">
              <a:extLst>
                <a:ext uri="{FF2B5EF4-FFF2-40B4-BE49-F238E27FC236}">
                  <a16:creationId xmlns:a16="http://schemas.microsoft.com/office/drawing/2014/main" id="{E44CF72F-5BBB-41BB-8960-070478DAA2BA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>
                <a:extLst>
                  <a:ext uri="{FF2B5EF4-FFF2-40B4-BE49-F238E27FC236}">
                    <a16:creationId xmlns:a16="http://schemas.microsoft.com/office/drawing/2014/main" id="{C047B9E0-6B01-4A46-ADDD-B1AA22DFABD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4"/>
                <a:ext cx="156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55" name="Arc 48">
                <a:extLst>
                  <a:ext uri="{FF2B5EF4-FFF2-40B4-BE49-F238E27FC236}">
                    <a16:creationId xmlns:a16="http://schemas.microsoft.com/office/drawing/2014/main" id="{2ECB2360-898B-4A55-A09C-840DFABAD9B9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4"/>
                <a:ext cx="156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GB" sz="2068" dirty="0">
                  <a:solidFill>
                    <a:srgbClr val="000000"/>
                  </a:solidFill>
                  <a:latin typeface="+mn-lt"/>
                  <a:cs typeface="Arial" charset="0"/>
                </a:endParaRPr>
              </a:p>
            </p:txBody>
          </p:sp>
        </p:grpSp>
      </p:grpSp>
      <p:grpSp>
        <p:nvGrpSpPr>
          <p:cNvPr id="6157" name="McK Moon" hidden="1">
            <a:extLst>
              <a:ext uri="{FF2B5EF4-FFF2-40B4-BE49-F238E27FC236}">
                <a16:creationId xmlns:a16="http://schemas.microsoft.com/office/drawing/2014/main" id="{7B7CA9C1-9B8B-46A2-849F-32FC1A26BF51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9789942" y="1497967"/>
            <a:ext cx="365174" cy="362268"/>
            <a:chOff x="1600" y="1600"/>
            <a:chExt cx="160" cy="160"/>
          </a:xfrm>
        </p:grpSpPr>
        <p:sp>
          <p:nvSpPr>
            <p:cNvPr id="65" name="Oval 90">
              <a:extLst>
                <a:ext uri="{FF2B5EF4-FFF2-40B4-BE49-F238E27FC236}">
                  <a16:creationId xmlns:a16="http://schemas.microsoft.com/office/drawing/2014/main" id="{C436A0A6-E9B9-45D5-832C-E47BCDA35009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  <p:sp>
          <p:nvSpPr>
            <p:cNvPr id="66" name="Arc 91">
              <a:extLst>
                <a:ext uri="{FF2B5EF4-FFF2-40B4-BE49-F238E27FC236}">
                  <a16:creationId xmlns:a16="http://schemas.microsoft.com/office/drawing/2014/main" id="{FAE82C1D-8337-4506-A855-C379541ACEE2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GB" sz="2068" dirty="0">
                <a:solidFill>
                  <a:srgbClr val="000000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69" name="Slide Number Placeholder 6">
            <a:extLst>
              <a:ext uri="{FF2B5EF4-FFF2-40B4-BE49-F238E27FC236}">
                <a16:creationId xmlns:a16="http://schemas.microsoft.com/office/drawing/2014/main" id="{EA74D878-7BCA-4318-BE3D-61329BAC312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363474" y="9256715"/>
            <a:ext cx="281060" cy="217805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872BDFC2-85FC-4A2B-B61F-A71A363A4714}" type="slidenum">
              <a:rPr lang="en-GB" altLang="en-US" sz="1292" smtClean="0">
                <a:solidFill>
                  <a:srgbClr val="000000"/>
                </a:solidFill>
                <a:latin typeface="Arial" panose="020B0604020202020204" pitchFamily="34" charset="0"/>
              </a:rPr>
              <a:pPr eaLnBrk="1" hangingPunct="1">
                <a:defRPr/>
              </a:pPr>
              <a:t>‹#›</a:t>
            </a:fld>
            <a:r>
              <a:rPr lang="en-GB" altLang="en-US" sz="1292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07090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0" r:id="rId1"/>
    <p:sldLayoutId id="2147484191" r:id="rId2"/>
    <p:sldLayoutId id="2147484192" r:id="rId3"/>
  </p:sldLayoutIdLst>
  <p:hf hdr="0" ftr="0" dt="0"/>
  <p:txStyles>
    <p:titleStyle>
      <a:lvl1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+mj-lt"/>
          <a:ea typeface="MS PGothic" panose="020B0600070205080204" pitchFamily="34" charset="-128"/>
          <a:cs typeface="+mj-cs"/>
        </a:defRPr>
      </a:lvl1pPr>
      <a:lvl2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2pPr>
      <a:lvl3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3pPr>
      <a:lvl4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4pPr>
      <a:lvl5pPr algn="l" defTabSz="1177908" rtl="0" eaLnBrk="0" fontAlgn="base" hangingPunct="0">
        <a:spcBef>
          <a:spcPct val="0"/>
        </a:spcBef>
        <a:spcAft>
          <a:spcPct val="0"/>
        </a:spcAft>
        <a:tabLst>
          <a:tab pos="354130" algn="l"/>
        </a:tabLst>
        <a:defRPr sz="2386" b="1">
          <a:solidFill>
            <a:schemeClr val="tx2"/>
          </a:solidFill>
          <a:latin typeface="Arial" charset="0"/>
          <a:ea typeface="MS PGothic" panose="020B0600070205080204" pitchFamily="34" charset="-128"/>
        </a:defRPr>
      </a:lvl5pPr>
      <a:lvl6pPr marL="602824" algn="l" defTabSz="1180530" rtl="0" eaLnBrk="1" fontAlgn="base" hangingPunct="1">
        <a:spcBef>
          <a:spcPct val="0"/>
        </a:spcBef>
        <a:spcAft>
          <a:spcPct val="0"/>
        </a:spcAft>
        <a:defRPr sz="2455" b="1">
          <a:solidFill>
            <a:schemeClr val="tx2"/>
          </a:solidFill>
          <a:latin typeface="Arial" charset="0"/>
        </a:defRPr>
      </a:lvl6pPr>
      <a:lvl7pPr marL="1205647" algn="l" defTabSz="1180530" rtl="0" eaLnBrk="1" fontAlgn="base" hangingPunct="1">
        <a:spcBef>
          <a:spcPct val="0"/>
        </a:spcBef>
        <a:spcAft>
          <a:spcPct val="0"/>
        </a:spcAft>
        <a:defRPr sz="2455" b="1">
          <a:solidFill>
            <a:schemeClr val="tx2"/>
          </a:solidFill>
          <a:latin typeface="Arial" charset="0"/>
        </a:defRPr>
      </a:lvl7pPr>
      <a:lvl8pPr marL="1808470" algn="l" defTabSz="1180530" rtl="0" eaLnBrk="1" fontAlgn="base" hangingPunct="1">
        <a:spcBef>
          <a:spcPct val="0"/>
        </a:spcBef>
        <a:spcAft>
          <a:spcPct val="0"/>
        </a:spcAft>
        <a:defRPr sz="2455" b="1">
          <a:solidFill>
            <a:schemeClr val="tx2"/>
          </a:solidFill>
          <a:latin typeface="Arial" charset="0"/>
        </a:defRPr>
      </a:lvl8pPr>
      <a:lvl9pPr marL="2411295" algn="l" defTabSz="1180530" rtl="0" eaLnBrk="1" fontAlgn="base" hangingPunct="1">
        <a:spcBef>
          <a:spcPct val="0"/>
        </a:spcBef>
        <a:spcAft>
          <a:spcPct val="0"/>
        </a:spcAft>
        <a:defRPr sz="2455" b="1">
          <a:solidFill>
            <a:schemeClr val="tx2"/>
          </a:solidFill>
          <a:latin typeface="Arial" charset="0"/>
        </a:defRPr>
      </a:lvl9pPr>
    </p:titleStyle>
    <p:bodyStyle>
      <a:lvl1pPr marL="450710" indent="-450710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2028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253762" indent="-251869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2028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600317" indent="-342768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2028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806734" indent="-202631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2028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986641" indent="-168543" algn="l" defTabSz="1177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028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988630" indent="-171638" algn="l" defTabSz="1180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6pPr>
      <a:lvl7pPr marL="988630" indent="-171638" algn="l" defTabSz="1180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7pPr>
      <a:lvl8pPr marL="988630" indent="-171638" algn="l" defTabSz="1180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8pPr>
      <a:lvl9pPr marL="988630" indent="-171638" algn="l" defTabSz="11805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6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1pPr>
      <a:lvl2pPr marL="602824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2pPr>
      <a:lvl3pPr marL="1205647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3pPr>
      <a:lvl4pPr marL="1808470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4pPr>
      <a:lvl5pPr marL="2411295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5pPr>
      <a:lvl6pPr marL="3014118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6pPr>
      <a:lvl7pPr marL="3616941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7pPr>
      <a:lvl8pPr marL="4219764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8pPr>
      <a:lvl9pPr marL="4822588" algn="l" defTabSz="1205647" rtl="0" eaLnBrk="1" latinLnBrk="0" hangingPunct="1">
        <a:defRPr sz="232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>
            <a:extLst>
              <a:ext uri="{FF2B5EF4-FFF2-40B4-BE49-F238E27FC236}">
                <a16:creationId xmlns:a16="http://schemas.microsoft.com/office/drawing/2014/main" id="{89E3DF68-4807-4AD6-9E2C-48C7313B8C4C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" y="1"/>
          <a:ext cx="226695" cy="2266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1" hidden="1">
                        <a:extLst>
                          <a:ext uri="{FF2B5EF4-FFF2-40B4-BE49-F238E27FC236}">
                            <a16:creationId xmlns:a16="http://schemas.microsoft.com/office/drawing/2014/main" id="{89E3DF68-4807-4AD6-9E2C-48C7313B8C4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226695" cy="22669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86">
            <a:extLst>
              <a:ext uri="{FF2B5EF4-FFF2-40B4-BE49-F238E27FC236}">
                <a16:creationId xmlns:a16="http://schemas.microsoft.com/office/drawing/2014/main" id="{329E97A3-F0F7-4696-A109-DBEDE21EF94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261" y="2787017"/>
            <a:ext cx="6145768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028" name="Title Placeholder 2">
            <a:extLst>
              <a:ext uri="{FF2B5EF4-FFF2-40B4-BE49-F238E27FC236}">
                <a16:creationId xmlns:a16="http://schemas.microsoft.com/office/drawing/2014/main" id="{D5156EB4-FB52-4CB0-9BF6-CA6A41E8CD4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8365" y="344489"/>
            <a:ext cx="12324874" cy="307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9" name="McK 1. On-page tracker" hidden="1">
            <a:extLst>
              <a:ext uri="{FF2B5EF4-FFF2-40B4-BE49-F238E27FC236}">
                <a16:creationId xmlns:a16="http://schemas.microsoft.com/office/drawing/2014/main" id="{92D28B19-6F00-46EC-B659-34267E116F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365" y="37783"/>
            <a:ext cx="920124" cy="23070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99">
                <a:solidFill>
                  <a:srgbClr val="808080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McK 3. Unit of measure" hidden="1">
            <a:extLst>
              <a:ext uri="{FF2B5EF4-FFF2-40B4-BE49-F238E27FC236}">
                <a16:creationId xmlns:a16="http://schemas.microsoft.com/office/drawing/2014/main" id="{1A67D0EF-91DF-41D1-8107-99EF2687B2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365" y="760096"/>
            <a:ext cx="12324874" cy="26379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714">
                <a:solidFill>
                  <a:srgbClr val="808080"/>
                </a:solidFill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1031" name="McK Slide Elements" hidden="1">
            <a:extLst>
              <a:ext uri="{FF2B5EF4-FFF2-40B4-BE49-F238E27FC236}">
                <a16:creationId xmlns:a16="http://schemas.microsoft.com/office/drawing/2014/main" id="{A77513ED-9D3C-41FA-9FEB-A96EEC8CCF00}"/>
              </a:ext>
            </a:extLst>
          </p:cNvPr>
          <p:cNvGrpSpPr>
            <a:grpSpLocks/>
          </p:cNvGrpSpPr>
          <p:nvPr/>
        </p:nvGrpSpPr>
        <p:grpSpPr bwMode="auto">
          <a:xfrm>
            <a:off x="238363" y="8886692"/>
            <a:ext cx="10599658" cy="523386"/>
            <a:chOff x="75" y="3919"/>
            <a:chExt cx="644" cy="231"/>
          </a:xfrm>
        </p:grpSpPr>
        <p:sp>
          <p:nvSpPr>
            <p:cNvPr id="13" name="McK 4. Footnote">
              <a:extLst>
                <a:ext uri="{FF2B5EF4-FFF2-40B4-BE49-F238E27FC236}">
                  <a16:creationId xmlns:a16="http://schemas.microsoft.com/office/drawing/2014/main" id="{D42BC95D-64B8-4905-B1B1-F059C2AF17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" y="3919"/>
              <a:ext cx="644" cy="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071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083" name="McK 5. Source">
              <a:extLst>
                <a:ext uri="{FF2B5EF4-FFF2-40B4-BE49-F238E27FC236}">
                  <a16:creationId xmlns:a16="http://schemas.microsoft.com/office/drawing/2014/main" id="{34A97581-59B1-4C64-A944-64B4D6C4DE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" y="4077"/>
              <a:ext cx="644" cy="7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489579" indent="-489579" defTabSz="932802" eaLnBrk="1" fontAlgn="auto" hangingPunct="1">
                <a:spcBef>
                  <a:spcPts val="0"/>
                </a:spcBef>
                <a:spcAft>
                  <a:spcPts val="0"/>
                </a:spcAft>
                <a:tabLst>
                  <a:tab pos="486224" algn="l"/>
                </a:tabLst>
                <a:defRPr/>
              </a:pPr>
              <a:r>
                <a:rPr lang="en-GB" sz="1071">
                  <a:solidFill>
                    <a:srgbClr val="000000"/>
                  </a:solidFill>
                  <a:latin typeface="+mn-lt"/>
                  <a:ea typeface="+mn-ea"/>
                </a:rPr>
                <a:t>Source: NNPC steer-co decisions; team analysis</a:t>
              </a:r>
            </a:p>
          </p:txBody>
        </p:sp>
      </p:grpSp>
      <p:grpSp>
        <p:nvGrpSpPr>
          <p:cNvPr id="1032" name="ACET" hidden="1">
            <a:extLst>
              <a:ext uri="{FF2B5EF4-FFF2-40B4-BE49-F238E27FC236}">
                <a16:creationId xmlns:a16="http://schemas.microsoft.com/office/drawing/2014/main" id="{160F22EA-5F8E-481D-8971-600140F822E1}"/>
              </a:ext>
            </a:extLst>
          </p:cNvPr>
          <p:cNvGrpSpPr>
            <a:grpSpLocks/>
          </p:cNvGrpSpPr>
          <p:nvPr/>
        </p:nvGrpSpPr>
        <p:grpSpPr bwMode="auto">
          <a:xfrm>
            <a:off x="2075262" y="2086628"/>
            <a:ext cx="6090761" cy="611490"/>
            <a:chOff x="915" y="760"/>
            <a:chExt cx="2686" cy="270"/>
          </a:xfrm>
        </p:grpSpPr>
        <p:cxnSp>
          <p:nvCxnSpPr>
            <p:cNvPr id="2" name="AutoShape 249">
              <a:extLst>
                <a:ext uri="{FF2B5EF4-FFF2-40B4-BE49-F238E27FC236}">
                  <a16:creationId xmlns:a16="http://schemas.microsoft.com/office/drawing/2014/main" id="{8F5E672F-F36D-40D0-B2C3-75D6695634C7}"/>
                </a:ext>
              </a:extLst>
            </p:cNvPr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1" name="AutoShape 250">
              <a:extLst>
                <a:ext uri="{FF2B5EF4-FFF2-40B4-BE49-F238E27FC236}">
                  <a16:creationId xmlns:a16="http://schemas.microsoft.com/office/drawing/2014/main" id="{7DDDA838-0433-4418-9914-8F24F4ECAB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60"/>
              <a:ext cx="2686" cy="27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929" b="1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929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pic>
        <p:nvPicPr>
          <p:cNvPr id="1033" name="Picture 19" descr="green">
            <a:extLst>
              <a:ext uri="{FF2B5EF4-FFF2-40B4-BE49-F238E27FC236}">
                <a16:creationId xmlns:a16="http://schemas.microsoft.com/office/drawing/2014/main" id="{5891EFCA-92B8-407E-B883-C8A27F26F2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6800" y="8871268"/>
            <a:ext cx="604800" cy="729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4" name="LegendBoxes" hidden="1">
            <a:extLst>
              <a:ext uri="{FF2B5EF4-FFF2-40B4-BE49-F238E27FC236}">
                <a16:creationId xmlns:a16="http://schemas.microsoft.com/office/drawing/2014/main" id="{62449603-3F3D-4D38-A465-0C1D674751AF}"/>
              </a:ext>
            </a:extLst>
          </p:cNvPr>
          <p:cNvGrpSpPr>
            <a:grpSpLocks/>
          </p:cNvGrpSpPr>
          <p:nvPr/>
        </p:nvGrpSpPr>
        <p:grpSpPr bwMode="auto">
          <a:xfrm>
            <a:off x="11473098" y="411164"/>
            <a:ext cx="911314" cy="1404280"/>
            <a:chOff x="4936" y="176"/>
            <a:chExt cx="402" cy="620"/>
          </a:xfrm>
        </p:grpSpPr>
        <p:sp>
          <p:nvSpPr>
            <p:cNvPr id="1072" name="Legend1">
              <a:extLst>
                <a:ext uri="{FF2B5EF4-FFF2-40B4-BE49-F238E27FC236}">
                  <a16:creationId xmlns:a16="http://schemas.microsoft.com/office/drawing/2014/main" id="{71902805-B77B-4751-B6DE-5BC23A04FC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3" name="LegendRectangle1">
              <a:extLst>
                <a:ext uri="{FF2B5EF4-FFF2-40B4-BE49-F238E27FC236}">
                  <a16:creationId xmlns:a16="http://schemas.microsoft.com/office/drawing/2014/main" id="{BF70FA3A-E7DE-4F78-B8A5-97B38E4BA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074" name="Legend2">
              <a:extLst>
                <a:ext uri="{FF2B5EF4-FFF2-40B4-BE49-F238E27FC236}">
                  <a16:creationId xmlns:a16="http://schemas.microsoft.com/office/drawing/2014/main" id="{5939808C-E9E1-4FB3-972F-98BB2A3AD4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5" name="LegendRectangle2">
              <a:extLst>
                <a:ext uri="{FF2B5EF4-FFF2-40B4-BE49-F238E27FC236}">
                  <a16:creationId xmlns:a16="http://schemas.microsoft.com/office/drawing/2014/main" id="{8E3315BB-1258-4A18-985A-BC22C114DE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076" name="Legend3">
              <a:extLst>
                <a:ext uri="{FF2B5EF4-FFF2-40B4-BE49-F238E27FC236}">
                  <a16:creationId xmlns:a16="http://schemas.microsoft.com/office/drawing/2014/main" id="{3C6FD58B-FC4B-4836-AA75-9315ADAA98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7" name="LegendRectangle3">
              <a:extLst>
                <a:ext uri="{FF2B5EF4-FFF2-40B4-BE49-F238E27FC236}">
                  <a16:creationId xmlns:a16="http://schemas.microsoft.com/office/drawing/2014/main" id="{8A7CF020-A10B-475A-A580-D142524019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1078" name="Legend4">
              <a:extLst>
                <a:ext uri="{FF2B5EF4-FFF2-40B4-BE49-F238E27FC236}">
                  <a16:creationId xmlns:a16="http://schemas.microsoft.com/office/drawing/2014/main" id="{C72E5B62-273C-4971-9E5B-7BD6E45E93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9" name="LegendRectangle4">
              <a:extLst>
                <a:ext uri="{FF2B5EF4-FFF2-40B4-BE49-F238E27FC236}">
                  <a16:creationId xmlns:a16="http://schemas.microsoft.com/office/drawing/2014/main" id="{FCFEF175-C7AC-46EC-8131-6E94638E3C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035" name="LegendLines" hidden="1">
            <a:extLst>
              <a:ext uri="{FF2B5EF4-FFF2-40B4-BE49-F238E27FC236}">
                <a16:creationId xmlns:a16="http://schemas.microsoft.com/office/drawing/2014/main" id="{63698A17-926A-4E5F-ACBE-2E56DB3ED158}"/>
              </a:ext>
            </a:extLst>
          </p:cNvPr>
          <p:cNvGrpSpPr>
            <a:grpSpLocks/>
          </p:cNvGrpSpPr>
          <p:nvPr/>
        </p:nvGrpSpPr>
        <p:grpSpPr bwMode="auto">
          <a:xfrm>
            <a:off x="11033058" y="420055"/>
            <a:ext cx="1351372" cy="976638"/>
            <a:chOff x="4750" y="176"/>
            <a:chExt cx="596" cy="431"/>
          </a:xfrm>
        </p:grpSpPr>
        <p:sp>
          <p:nvSpPr>
            <p:cNvPr id="33" name="LineLegend1">
              <a:extLst>
                <a:ext uri="{FF2B5EF4-FFF2-40B4-BE49-F238E27FC236}">
                  <a16:creationId xmlns:a16="http://schemas.microsoft.com/office/drawing/2014/main" id="{A17B4BCD-E684-43BE-9DF3-F0B20664A9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34" name="LineLegend2">
              <a:extLst>
                <a:ext uri="{FF2B5EF4-FFF2-40B4-BE49-F238E27FC236}">
                  <a16:creationId xmlns:a16="http://schemas.microsoft.com/office/drawing/2014/main" id="{B695B18C-79C7-4F99-B087-84C073C6C8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35" name="LineLegend3">
              <a:extLst>
                <a:ext uri="{FF2B5EF4-FFF2-40B4-BE49-F238E27FC236}">
                  <a16:creationId xmlns:a16="http://schemas.microsoft.com/office/drawing/2014/main" id="{C3BC8BFB-5E68-44A4-8461-49B544A8CEE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  <a:cs typeface="Arial" charset="0"/>
              </a:endParaRPr>
            </a:p>
          </p:txBody>
        </p:sp>
        <p:sp>
          <p:nvSpPr>
            <p:cNvPr id="1069" name="Legend1">
              <a:extLst>
                <a:ext uri="{FF2B5EF4-FFF2-40B4-BE49-F238E27FC236}">
                  <a16:creationId xmlns:a16="http://schemas.microsoft.com/office/drawing/2014/main" id="{10671AF2-659F-41F8-902E-1F35199688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0" name="Legend2">
              <a:extLst>
                <a:ext uri="{FF2B5EF4-FFF2-40B4-BE49-F238E27FC236}">
                  <a16:creationId xmlns:a16="http://schemas.microsoft.com/office/drawing/2014/main" id="{7BF0C0D7-1E1B-4E18-82A1-302929DF50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71" name="Legend3">
              <a:extLst>
                <a:ext uri="{FF2B5EF4-FFF2-40B4-BE49-F238E27FC236}">
                  <a16:creationId xmlns:a16="http://schemas.microsoft.com/office/drawing/2014/main" id="{0D13C879-B161-4A94-A616-E75E8A4BB7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6" name="McKSticker" hidden="1">
            <a:extLst>
              <a:ext uri="{FF2B5EF4-FFF2-40B4-BE49-F238E27FC236}">
                <a16:creationId xmlns:a16="http://schemas.microsoft.com/office/drawing/2014/main" id="{4D7C0CCC-0EDF-44A0-A10A-1634781653C3}"/>
              </a:ext>
            </a:extLst>
          </p:cNvPr>
          <p:cNvGrpSpPr>
            <a:grpSpLocks/>
          </p:cNvGrpSpPr>
          <p:nvPr/>
        </p:nvGrpSpPr>
        <p:grpSpPr bwMode="auto">
          <a:xfrm>
            <a:off x="2075262" y="428945"/>
            <a:ext cx="10487976" cy="2269173"/>
            <a:chOff x="1396720" y="285750"/>
            <a:chExt cx="7344055" cy="1587242"/>
          </a:xfrm>
        </p:grpSpPr>
        <p:sp>
          <p:nvSpPr>
            <p:cNvPr id="1063" name="StickerRectangle">
              <a:extLst>
                <a:ext uri="{FF2B5EF4-FFF2-40B4-BE49-F238E27FC236}">
                  <a16:creationId xmlns:a16="http://schemas.microsoft.com/office/drawing/2014/main" id="{121AA532-98B2-47E2-9B05-4A3792C143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38831" y="285750"/>
              <a:ext cx="801944" cy="15769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808080"/>
                  </a:solidFill>
                  <a:latin typeface="+mn-lt"/>
                  <a:ea typeface="+mn-ea"/>
                </a:rPr>
                <a:t>PRELIMINARY</a:t>
              </a:r>
            </a:p>
          </p:txBody>
        </p:sp>
        <p:cxnSp>
          <p:nvCxnSpPr>
            <p:cNvPr id="3" name="AutoShape 31">
              <a:extLst>
                <a:ext uri="{FF2B5EF4-FFF2-40B4-BE49-F238E27FC236}">
                  <a16:creationId xmlns:a16="http://schemas.microsoft.com/office/drawing/2014/main" id="{AA9C3440-EA1C-4114-8B75-717C095E32A8}"/>
                </a:ext>
              </a:extLst>
            </p:cNvPr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1396720" y="1872992"/>
              <a:ext cx="4264968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4" name="AutoShape 32">
              <a:extLst>
                <a:ext uri="{FF2B5EF4-FFF2-40B4-BE49-F238E27FC236}">
                  <a16:creationId xmlns:a16="http://schemas.microsoft.com/office/drawing/2014/main" id="{163D34A9-EA1E-40D6-BA94-A85367C38AE7}"/>
                </a:ext>
              </a:extLst>
            </p:cNvPr>
            <p:cNvCxnSpPr>
              <a:cxnSpLocks noChangeShapeType="1"/>
              <a:stCxn id="1063" idx="4"/>
              <a:endCxn id="1063" idx="6"/>
            </p:cNvCxnSpPr>
            <p:nvPr/>
          </p:nvCxnSpPr>
          <p:spPr bwMode="auto">
            <a:xfrm>
              <a:off x="7938831" y="443445"/>
              <a:ext cx="80194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7" name="LegendMoons" hidden="1">
            <a:extLst>
              <a:ext uri="{FF2B5EF4-FFF2-40B4-BE49-F238E27FC236}">
                <a16:creationId xmlns:a16="http://schemas.microsoft.com/office/drawing/2014/main" id="{86AF9DA8-B5C6-4EE4-AE81-9EB2B76ADCFE}"/>
              </a:ext>
            </a:extLst>
          </p:cNvPr>
          <p:cNvGrpSpPr>
            <a:grpSpLocks/>
          </p:cNvGrpSpPr>
          <p:nvPr/>
        </p:nvGrpSpPr>
        <p:grpSpPr bwMode="auto">
          <a:xfrm>
            <a:off x="11378085" y="411165"/>
            <a:ext cx="1006619" cy="1864678"/>
            <a:chOff x="6655594" y="273840"/>
            <a:chExt cx="704716" cy="1306516"/>
          </a:xfrm>
        </p:grpSpPr>
        <p:grpSp>
          <p:nvGrpSpPr>
            <p:cNvPr id="1042" name="MoonLegend1">
              <a:extLst>
                <a:ext uri="{FF2B5EF4-FFF2-40B4-BE49-F238E27FC236}">
                  <a16:creationId xmlns:a16="http://schemas.microsoft.com/office/drawing/2014/main" id="{AD58E5F6-86A5-44AF-907E-495A749CEFF8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>
                <a:extLst>
                  <a:ext uri="{FF2B5EF4-FFF2-40B4-BE49-F238E27FC236}">
                    <a16:creationId xmlns:a16="http://schemas.microsoft.com/office/drawing/2014/main" id="{219895C3-F93F-49C4-A596-CAA470A1AB2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63" name="Arc 39">
                <a:extLst>
                  <a:ext uri="{FF2B5EF4-FFF2-40B4-BE49-F238E27FC236}">
                    <a16:creationId xmlns:a16="http://schemas.microsoft.com/office/drawing/2014/main" id="{BE02566A-AE2A-4DA6-AA7B-6C14F1EDF1BE}"/>
                  </a:ext>
                </a:extLst>
              </p:cNvPr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1043" name="MoonLegend2">
              <a:extLst>
                <a:ext uri="{FF2B5EF4-FFF2-40B4-BE49-F238E27FC236}">
                  <a16:creationId xmlns:a16="http://schemas.microsoft.com/office/drawing/2014/main" id="{8D9F836F-A019-4C0D-90E6-1E1A81FD4CFD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>
                <a:extLst>
                  <a:ext uri="{FF2B5EF4-FFF2-40B4-BE49-F238E27FC236}">
                    <a16:creationId xmlns:a16="http://schemas.microsoft.com/office/drawing/2014/main" id="{1A92C4EF-76D5-49F8-9552-5FAFC0BCFA7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61" name="Arc 42">
                <a:extLst>
                  <a:ext uri="{FF2B5EF4-FFF2-40B4-BE49-F238E27FC236}">
                    <a16:creationId xmlns:a16="http://schemas.microsoft.com/office/drawing/2014/main" id="{E8310F9F-0F27-4946-BC79-5E247F4AF382}"/>
                  </a:ext>
                </a:extLst>
              </p:cNvPr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1044" name="MoonLegend4">
              <a:extLst>
                <a:ext uri="{FF2B5EF4-FFF2-40B4-BE49-F238E27FC236}">
                  <a16:creationId xmlns:a16="http://schemas.microsoft.com/office/drawing/2014/main" id="{F56F8A02-B400-43DD-80A3-0F5B306CDC1E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>
                <a:extLst>
                  <a:ext uri="{FF2B5EF4-FFF2-40B4-BE49-F238E27FC236}">
                    <a16:creationId xmlns:a16="http://schemas.microsoft.com/office/drawing/2014/main" id="{2E90758A-FEF0-48A4-B31C-E715846A32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59" name="Arc 48">
                <a:extLst>
                  <a:ext uri="{FF2B5EF4-FFF2-40B4-BE49-F238E27FC236}">
                    <a16:creationId xmlns:a16="http://schemas.microsoft.com/office/drawing/2014/main" id="{D8FFE1C1-03B8-4A0A-8EBF-603FEF17E1F8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1045" name="MoonLegend5">
              <a:extLst>
                <a:ext uri="{FF2B5EF4-FFF2-40B4-BE49-F238E27FC236}">
                  <a16:creationId xmlns:a16="http://schemas.microsoft.com/office/drawing/2014/main" id="{7327D257-9CB3-4877-B473-BD7FB057936F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>
                <a:extLst>
                  <a:ext uri="{FF2B5EF4-FFF2-40B4-BE49-F238E27FC236}">
                    <a16:creationId xmlns:a16="http://schemas.microsoft.com/office/drawing/2014/main" id="{0A51E855-FD16-4042-9CC6-AEBE9AC4EB1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57" name="Oval 51">
                <a:extLst>
                  <a:ext uri="{FF2B5EF4-FFF2-40B4-BE49-F238E27FC236}">
                    <a16:creationId xmlns:a16="http://schemas.microsoft.com/office/drawing/2014/main" id="{7C121912-D115-4BD7-A0D3-33630C75C7F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  <p:sp>
          <p:nvSpPr>
            <p:cNvPr id="1047" name="Legend1">
              <a:extLst>
                <a:ext uri="{FF2B5EF4-FFF2-40B4-BE49-F238E27FC236}">
                  <a16:creationId xmlns:a16="http://schemas.microsoft.com/office/drawing/2014/main" id="{0E95264F-553A-4B36-A4AC-4F7D3A6920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286298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48" name="Legend2">
              <a:extLst>
                <a:ext uri="{FF2B5EF4-FFF2-40B4-BE49-F238E27FC236}">
                  <a16:creationId xmlns:a16="http://schemas.microsoft.com/office/drawing/2014/main" id="{2BD44C8B-E1D7-468B-BD11-2410EFCB95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561927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49" name="Legend3">
              <a:extLst>
                <a:ext uri="{FF2B5EF4-FFF2-40B4-BE49-F238E27FC236}">
                  <a16:creationId xmlns:a16="http://schemas.microsoft.com/office/drawing/2014/main" id="{11406E06-A3F8-4C80-9703-4C09F80754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835999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0" name="Legend4">
              <a:extLst>
                <a:ext uri="{FF2B5EF4-FFF2-40B4-BE49-F238E27FC236}">
                  <a16:creationId xmlns:a16="http://schemas.microsoft.com/office/drawing/2014/main" id="{2FD568F3-FDC6-4F4F-8746-F025B6A95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1106958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51" name="Legend5">
              <a:extLst>
                <a:ext uri="{FF2B5EF4-FFF2-40B4-BE49-F238E27FC236}">
                  <a16:creationId xmlns:a16="http://schemas.microsoft.com/office/drawing/2014/main" id="{81C5F908-BE42-4722-A03F-C445D8B83A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06" y="1384145"/>
              <a:ext cx="383804" cy="1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32802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3D6E4D"/>
                </a:buClr>
                <a:defRPr/>
              </a:pPr>
              <a:r>
                <a:rPr lang="en-GB" sz="1285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grpSp>
          <p:nvGrpSpPr>
            <p:cNvPr id="4" name="MoonLegend3">
              <a:extLst>
                <a:ext uri="{FF2B5EF4-FFF2-40B4-BE49-F238E27FC236}">
                  <a16:creationId xmlns:a16="http://schemas.microsoft.com/office/drawing/2014/main" id="{A9FA31B6-2C53-4AE0-8EE6-E97AC7B31C36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>
                <a:extLst>
                  <a:ext uri="{FF2B5EF4-FFF2-40B4-BE49-F238E27FC236}">
                    <a16:creationId xmlns:a16="http://schemas.microsoft.com/office/drawing/2014/main" id="{D6352FEE-ED0A-4306-A4A5-044E4F1BAE2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  <p:sp>
            <p:nvSpPr>
              <p:cNvPr id="55" name="Arc 48">
                <a:extLst>
                  <a:ext uri="{FF2B5EF4-FFF2-40B4-BE49-F238E27FC236}">
                    <a16:creationId xmlns:a16="http://schemas.microsoft.com/office/drawing/2014/main" id="{013088AC-C5D3-4C35-86F6-99F8BAE4A307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4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929">
                  <a:solidFill>
                    <a:srgbClr val="000000"/>
                  </a:solidFill>
                  <a:latin typeface="+mn-lt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038" name="McK Moon" hidden="1">
            <a:extLst>
              <a:ext uri="{FF2B5EF4-FFF2-40B4-BE49-F238E27FC236}">
                <a16:creationId xmlns:a16="http://schemas.microsoft.com/office/drawing/2014/main" id="{A9E7276B-4B6C-428B-9DC6-EE7965D703E1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9789559" y="1495746"/>
            <a:ext cx="363379" cy="364491"/>
            <a:chOff x="1600" y="1600"/>
            <a:chExt cx="160" cy="160"/>
          </a:xfrm>
        </p:grpSpPr>
        <p:sp>
          <p:nvSpPr>
            <p:cNvPr id="65" name="Oval 90">
              <a:extLst>
                <a:ext uri="{FF2B5EF4-FFF2-40B4-BE49-F238E27FC236}">
                  <a16:creationId xmlns:a16="http://schemas.microsoft.com/office/drawing/2014/main" id="{E4EA0417-BF99-4365-8A36-B8C92C813B63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6" name="Arc 91">
              <a:extLst>
                <a:ext uri="{FF2B5EF4-FFF2-40B4-BE49-F238E27FC236}">
                  <a16:creationId xmlns:a16="http://schemas.microsoft.com/office/drawing/2014/main" id="{9A3D6837-0EEE-4F89-8E10-D9B85A3AF29B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929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pic>
        <p:nvPicPr>
          <p:cNvPr id="64" name="Picture 5" descr="logo">
            <a:extLst>
              <a:ext uri="{FF2B5EF4-FFF2-40B4-BE49-F238E27FC236}">
                <a16:creationId xmlns:a16="http://schemas.microsoft.com/office/drawing/2014/main" id="{83CE6DCC-3433-4E86-B497-BDF2A6D64F7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7" r="-437"/>
          <a:stretch/>
        </p:blipFill>
        <p:spPr bwMode="auto">
          <a:xfrm>
            <a:off x="12400155" y="9066338"/>
            <a:ext cx="37800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8954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5" r:id="rId1"/>
    <p:sldLayoutId id="2147484196" r:id="rId2"/>
    <p:sldLayoutId id="2147484197" r:id="rId3"/>
    <p:sldLayoutId id="2147484198" r:id="rId4"/>
    <p:sldLayoutId id="2147484199" r:id="rId5"/>
    <p:sldLayoutId id="2147484200" r:id="rId6"/>
    <p:sldLayoutId id="2147484201" r:id="rId7"/>
    <p:sldLayoutId id="2147484202" r:id="rId8"/>
  </p:sldLayoutIdLst>
  <p:hf hdr="0" ftr="0" dt="0"/>
  <p:txStyles>
    <p:titleStyle>
      <a:lvl1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  <a:cs typeface="+mj-cs"/>
        </a:defRPr>
      </a:lvl1pPr>
      <a:lvl2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</a:defRPr>
      </a:lvl2pPr>
      <a:lvl3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</a:defRPr>
      </a:lvl3pPr>
      <a:lvl4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</a:defRPr>
      </a:lvl4pPr>
      <a:lvl5pPr algn="l" defTabSz="931761" rtl="0" eaLnBrk="0" fontAlgn="base" hangingPunct="0">
        <a:spcBef>
          <a:spcPct val="0"/>
        </a:spcBef>
        <a:spcAft>
          <a:spcPct val="0"/>
        </a:spcAft>
        <a:tabLst>
          <a:tab pos="280028" algn="l"/>
        </a:tabLst>
        <a:defRPr sz="1995" b="1">
          <a:solidFill>
            <a:schemeClr val="tx2"/>
          </a:solidFill>
          <a:latin typeface="Century Gothic" panose="020B0502020202020204" pitchFamily="34" charset="0"/>
          <a:ea typeface="MS PGothic" panose="020B0600070205080204" pitchFamily="34" charset="-128"/>
        </a:defRPr>
      </a:lvl5pPr>
      <a:lvl6pPr marL="476261" algn="l" defTabSz="932802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6pPr>
      <a:lvl7pPr marL="952643" algn="l" defTabSz="932802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7pPr>
      <a:lvl8pPr marL="1428975" algn="l" defTabSz="932802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8pPr>
      <a:lvl9pPr marL="1905306" algn="l" defTabSz="932802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9pPr>
    </p:titleStyle>
    <p:bodyStyle>
      <a:lvl1pPr marL="356703" indent="-356703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  <a:cs typeface="+mn-cs"/>
        </a:defRPr>
      </a:lvl1pPr>
      <a:lvl2pPr marL="201687" indent="-200020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</a:defRPr>
      </a:lvl2pPr>
      <a:lvl3pPr marL="475048" indent="-271694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</a:defRPr>
      </a:lvl3pPr>
      <a:lvl4pPr marL="640064" indent="-161683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</a:defRPr>
      </a:lvl4pPr>
      <a:lvl5pPr marL="780079" indent="-135014" algn="l" defTabSz="93176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80">
          <a:solidFill>
            <a:schemeClr val="tx1"/>
          </a:solidFill>
          <a:latin typeface="Century Gothic" panose="020B0502020202020204" pitchFamily="34" charset="0"/>
          <a:ea typeface="MS PGothic" panose="020B0600070205080204" pitchFamily="34" charset="-128"/>
        </a:defRPr>
      </a:lvl5pPr>
      <a:lvl6pPr marL="781178" indent="-135625" algn="l" defTabSz="9328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781178" indent="-135625" algn="l" defTabSz="9328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781178" indent="-135625" algn="l" defTabSz="9328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781178" indent="-135625" algn="l" defTabSz="9328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1pPr>
      <a:lvl2pPr marL="476261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2pPr>
      <a:lvl3pPr marL="952643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3pPr>
      <a:lvl4pPr marL="1428975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4pPr>
      <a:lvl5pPr marL="1905306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5pPr>
      <a:lvl6pPr marL="2381629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6pPr>
      <a:lvl7pPr marL="2857960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7pPr>
      <a:lvl8pPr marL="3334280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8pPr>
      <a:lvl9pPr marL="3810611" algn="l" defTabSz="952643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4" y="2786934"/>
            <a:ext cx="6145675" cy="1318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8121" y="344696"/>
            <a:ext cx="12325365" cy="313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238496" y="38550"/>
            <a:ext cx="920124" cy="230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499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8121" y="759665"/>
            <a:ext cx="12325365" cy="263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714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1" name="McK Slide Elements" hidden="1"/>
          <p:cNvGrpSpPr>
            <a:grpSpLocks/>
          </p:cNvGrpSpPr>
          <p:nvPr/>
        </p:nvGrpSpPr>
        <p:grpSpPr bwMode="auto">
          <a:xfrm>
            <a:off x="238126" y="8886934"/>
            <a:ext cx="10599589" cy="523824"/>
            <a:chOff x="75" y="3919"/>
            <a:chExt cx="644" cy="23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19"/>
              <a:ext cx="644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071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3" name="McK 5. Source"/>
            <p:cNvSpPr>
              <a:spLocks noChangeArrowheads="1"/>
            </p:cNvSpPr>
            <p:nvPr/>
          </p:nvSpPr>
          <p:spPr bwMode="auto">
            <a:xfrm>
              <a:off x="75" y="4077"/>
              <a:ext cx="644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89591" indent="-489591" defTabSz="932825">
                <a:tabLst>
                  <a:tab pos="486235" algn="l"/>
                </a:tabLst>
              </a:pPr>
              <a:r>
                <a:rPr lang="en-GB" sz="1071">
                  <a:solidFill>
                    <a:srgbClr val="000000"/>
                  </a:solidFill>
                </a:rPr>
                <a:t>Source: NNPC steer-co decisions; team analysis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36" y="2086233"/>
            <a:ext cx="6091248" cy="612263"/>
            <a:chOff x="915" y="760"/>
            <a:chExt cx="2686" cy="270"/>
          </a:xfrm>
        </p:grpSpPr>
        <p:cxnSp>
          <p:nvCxnSpPr>
            <p:cNvPr id="1080" name="AutoShape 249"/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1" name="AutoShape 250"/>
            <p:cNvSpPr>
              <a:spLocks noChangeArrowheads="1"/>
            </p:cNvSpPr>
            <p:nvPr/>
          </p:nvSpPr>
          <p:spPr bwMode="auto">
            <a:xfrm>
              <a:off x="915" y="760"/>
              <a:ext cx="2686" cy="27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929" b="1">
                  <a:solidFill>
                    <a:srgbClr val="000000"/>
                  </a:solidFill>
                </a:rPr>
                <a:t>Title</a:t>
              </a:r>
            </a:p>
            <a:p>
              <a:r>
                <a:rPr lang="en-GB" sz="1929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5466" y="8429318"/>
            <a:ext cx="966156" cy="1167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062" y="410460"/>
            <a:ext cx="911646" cy="1405940"/>
            <a:chOff x="4936" y="176"/>
            <a:chExt cx="402" cy="620"/>
          </a:xfrm>
        </p:grpSpPr>
        <p:sp>
          <p:nvSpPr>
            <p:cNvPr id="107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929">
                <a:solidFill>
                  <a:srgbClr val="000000"/>
                </a:solidFill>
              </a:endParaRPr>
            </a:p>
          </p:txBody>
        </p:sp>
        <p:sp>
          <p:nvSpPr>
            <p:cNvPr id="107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929">
                <a:solidFill>
                  <a:srgbClr val="000000"/>
                </a:solidFill>
              </a:endParaRPr>
            </a:p>
          </p:txBody>
        </p:sp>
        <p:sp>
          <p:nvSpPr>
            <p:cNvPr id="107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929">
                <a:solidFill>
                  <a:srgbClr val="000000"/>
                </a:solidFill>
              </a:endParaRPr>
            </a:p>
          </p:txBody>
        </p:sp>
        <p:sp>
          <p:nvSpPr>
            <p:cNvPr id="107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929">
                <a:solidFill>
                  <a:srgbClr val="000000"/>
                </a:solidFill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2748" y="419531"/>
            <a:ext cx="1351596" cy="977354"/>
            <a:chOff x="4750" y="176"/>
            <a:chExt cx="596" cy="43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37" name="McKSticker" hidden="1"/>
          <p:cNvGrpSpPr>
            <a:grpSpLocks/>
          </p:cNvGrpSpPr>
          <p:nvPr/>
        </p:nvGrpSpPr>
        <p:grpSpPr bwMode="auto">
          <a:xfrm>
            <a:off x="11418210" y="428624"/>
            <a:ext cx="1145249" cy="225446"/>
            <a:chOff x="7939002" y="285750"/>
            <a:chExt cx="801773" cy="157560"/>
          </a:xfrm>
        </p:grpSpPr>
        <p:sp>
          <p:nvSpPr>
            <p:cNvPr id="1063" name="StickerRectangle"/>
            <p:cNvSpPr>
              <a:spLocks noChangeArrowheads="1"/>
            </p:cNvSpPr>
            <p:nvPr/>
          </p:nvSpPr>
          <p:spPr bwMode="auto">
            <a:xfrm>
              <a:off x="7939002" y="285750"/>
              <a:ext cx="801773" cy="1575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32825">
                <a:buClr>
                  <a:srgbClr val="3D6E4D"/>
                </a:buClr>
              </a:pPr>
              <a:r>
                <a:rPr lang="en-GB" sz="1285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4" name="AutoShape 31"/>
            <p:cNvCxnSpPr>
              <a:cxnSpLocks noChangeShapeType="1"/>
              <a:stCxn id="1063" idx="2"/>
              <a:endCxn id="1063" idx="4"/>
            </p:cNvCxnSpPr>
            <p:nvPr/>
          </p:nvCxnSpPr>
          <p:spPr bwMode="auto">
            <a:xfrm>
              <a:off x="7939002" y="285750"/>
              <a:ext cx="0" cy="15756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5" name="AutoShape 32"/>
            <p:cNvCxnSpPr>
              <a:cxnSpLocks noChangeShapeType="1"/>
              <a:stCxn id="1063" idx="4"/>
              <a:endCxn id="1063" idx="6"/>
            </p:cNvCxnSpPr>
            <p:nvPr/>
          </p:nvCxnSpPr>
          <p:spPr bwMode="auto">
            <a:xfrm>
              <a:off x="7939002" y="443310"/>
              <a:ext cx="80177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7463" y="410449"/>
            <a:ext cx="1006226" cy="1866274"/>
            <a:chOff x="6655594" y="273840"/>
            <a:chExt cx="704524" cy="1306516"/>
          </a:xfrm>
        </p:grpSpPr>
        <p:grpSp>
          <p:nvGrpSpPr>
            <p:cNvPr id="1043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4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5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6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4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4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1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3849" cy="1384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32825">
                <a:buClr>
                  <a:srgbClr val="3D6E4D"/>
                </a:buClr>
              </a:pPr>
              <a:r>
                <a:rPr lang="en-GB" sz="1285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52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GB" sz="1929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grpSp>
        <p:nvGrpSpPr>
          <p:cNvPr id="1039" name="McK 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9789998" y="1496678"/>
            <a:ext cx="362845" cy="362823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GB" sz="1929" dirty="0">
                <a:solidFill>
                  <a:srgbClr val="000000"/>
                </a:solidFill>
              </a:endParaRPr>
            </a:p>
          </p:txBody>
        </p:sp>
      </p:grpSp>
      <p:sp>
        <p:nvSpPr>
          <p:cNvPr id="69" name="Slide Number Placeholder 6"/>
          <p:cNvSpPr txBox="1">
            <a:spLocks/>
          </p:cNvSpPr>
          <p:nvPr/>
        </p:nvSpPr>
        <p:spPr bwMode="auto">
          <a:xfrm>
            <a:off x="12335959" y="9256519"/>
            <a:ext cx="278936" cy="2176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8CD7EA88-D4F5-4DE5-B9EE-4B8AEA1267CE}" type="slidenum">
              <a:rPr lang="en-GB" altLang="en-US" sz="1071" smtClean="0">
                <a:solidFill>
                  <a:srgbClr val="000000"/>
                </a:solidFill>
                <a:cs typeface="Arial"/>
              </a:rPr>
              <a:pPr>
                <a:defRPr/>
              </a:pPr>
              <a:t>‹#›</a:t>
            </a:fld>
            <a:r>
              <a:rPr lang="en-GB" altLang="en-US" sz="1071" dirty="0">
                <a:solidFill>
                  <a:srgbClr val="000000"/>
                </a:solidFill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73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9" r:id="rId1"/>
    <p:sldLayoutId id="2147484220" r:id="rId2"/>
    <p:sldLayoutId id="2147484221" r:id="rId3"/>
    <p:sldLayoutId id="2147484222" r:id="rId4"/>
    <p:sldLayoutId id="2147484223" r:id="rId5"/>
    <p:sldLayoutId id="2147484224" r:id="rId6"/>
    <p:sldLayoutId id="2147484227" r:id="rId7"/>
    <p:sldLayoutId id="2147484228" r:id="rId8"/>
  </p:sldLayoutIdLst>
  <p:hf hdr="0" ftr="0" dt="0"/>
  <p:txStyles>
    <p:titleStyle>
      <a:lvl1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Century Gothic" panose="020B0502020202020204" pitchFamily="34" charset="0"/>
          <a:ea typeface="MS PGothic" pitchFamily="34" charset="-128"/>
          <a:cs typeface="+mj-cs"/>
        </a:defRPr>
      </a:lvl1pPr>
      <a:lvl2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Arial" charset="0"/>
          <a:ea typeface="MS PGothic" pitchFamily="34" charset="-128"/>
        </a:defRPr>
      </a:lvl2pPr>
      <a:lvl3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Arial" charset="0"/>
          <a:ea typeface="MS PGothic" pitchFamily="34" charset="-128"/>
        </a:defRPr>
      </a:lvl3pPr>
      <a:lvl4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Arial" charset="0"/>
          <a:ea typeface="MS PGothic" pitchFamily="34" charset="-128"/>
        </a:defRPr>
      </a:lvl4pPr>
      <a:lvl5pPr algn="l" defTabSz="932825" rtl="0" eaLnBrk="1" fontAlgn="base" hangingPunct="1">
        <a:spcBef>
          <a:spcPct val="0"/>
        </a:spcBef>
        <a:spcAft>
          <a:spcPct val="0"/>
        </a:spcAft>
        <a:tabLst>
          <a:tab pos="281174" algn="l"/>
        </a:tabLst>
        <a:defRPr sz="2036" b="1">
          <a:solidFill>
            <a:schemeClr val="tx2"/>
          </a:solidFill>
          <a:latin typeface="Arial" charset="0"/>
          <a:ea typeface="MS PGothic" pitchFamily="34" charset="-128"/>
        </a:defRPr>
      </a:lvl5pPr>
      <a:lvl6pPr marL="476273" algn="l" defTabSz="932825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6pPr>
      <a:lvl7pPr marL="952666" algn="l" defTabSz="932825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7pPr>
      <a:lvl8pPr marL="1429011" algn="l" defTabSz="932825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8pPr>
      <a:lvl9pPr marL="1905354" algn="l" defTabSz="932825" rtl="0" eaLnBrk="1" fontAlgn="base" hangingPunct="1">
        <a:spcBef>
          <a:spcPct val="0"/>
        </a:spcBef>
        <a:spcAft>
          <a:spcPct val="0"/>
        </a:spcAft>
        <a:defRPr sz="2036" b="1">
          <a:solidFill>
            <a:schemeClr val="tx2"/>
          </a:solidFill>
          <a:latin typeface="Arial" charset="0"/>
        </a:defRPr>
      </a:lvl9pPr>
    </p:titleStyle>
    <p:bodyStyle>
      <a:lvl1pPr marL="357256" indent="-357256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  <a:cs typeface="+mn-cs"/>
        </a:defRPr>
      </a:lvl1pPr>
      <a:lvl2pPr marL="201786" indent="-200135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</a:defRPr>
      </a:lvl2pPr>
      <a:lvl3pPr marL="476273" indent="-272908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</a:defRPr>
      </a:lvl3pPr>
      <a:lvl4pPr marL="640083" indent="-162080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</a:defRPr>
      </a:lvl4pPr>
      <a:lvl5pPr marL="780669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714">
          <a:solidFill>
            <a:schemeClr val="tx1"/>
          </a:solidFill>
          <a:latin typeface="Century Gothic" panose="020B0502020202020204" pitchFamily="34" charset="0"/>
          <a:ea typeface="MS PGothic" pitchFamily="34" charset="-128"/>
        </a:defRPr>
      </a:lvl5pPr>
      <a:lvl6pPr marL="781197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6pPr>
      <a:lvl7pPr marL="781197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7pPr>
      <a:lvl8pPr marL="781197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8pPr>
      <a:lvl9pPr marL="781197" indent="-135629" algn="l" defTabSz="93282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1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1pPr>
      <a:lvl2pPr marL="476273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2pPr>
      <a:lvl3pPr marL="952666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3pPr>
      <a:lvl4pPr marL="1429011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4pPr>
      <a:lvl5pPr marL="1905354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5pPr>
      <a:lvl6pPr marL="2381689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6pPr>
      <a:lvl7pPr marL="2858031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7pPr>
      <a:lvl8pPr marL="3334363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8pPr>
      <a:lvl9pPr marL="3810706" algn="l" defTabSz="952666" rtl="0" eaLnBrk="1" latinLnBrk="0" hangingPunct="1">
        <a:defRPr sz="192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18913199"/>
              </p:ext>
            </p:extLst>
          </p:nvPr>
        </p:nvGraphicFramePr>
        <p:xfrm>
          <a:off x="3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GB" sz="1995" b="1" i="0" baseline="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21" y="2786934"/>
            <a:ext cx="6145675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7246" y="344692"/>
            <a:ext cx="12327110" cy="307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9" name="1. On-page tracker" hidden="1"/>
          <p:cNvSpPr>
            <a:spLocks noChangeArrowheads="1"/>
          </p:cNvSpPr>
          <p:nvPr/>
        </p:nvSpPr>
        <p:spPr bwMode="auto">
          <a:xfrm>
            <a:off x="237257" y="38553"/>
            <a:ext cx="899285" cy="22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71" dirty="0">
                <a:solidFill>
                  <a:srgbClr val="808080"/>
                </a:solidFill>
                <a:cs typeface="Arial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7246" y="759669"/>
            <a:ext cx="12327110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80" dirty="0">
                <a:solidFill>
                  <a:srgbClr val="808080"/>
                </a:solidFill>
                <a:latin typeface="Arial"/>
                <a:cs typeface="Arial" charset="0"/>
              </a:rPr>
              <a:t>Unit of measure</a:t>
            </a:r>
          </a:p>
        </p:txBody>
      </p:sp>
      <p:grpSp>
        <p:nvGrpSpPr>
          <p:cNvPr id="1031" name="Slide Elements" hidden="1"/>
          <p:cNvGrpSpPr>
            <a:grpSpLocks/>
          </p:cNvGrpSpPr>
          <p:nvPr/>
        </p:nvGrpSpPr>
        <p:grpSpPr bwMode="auto">
          <a:xfrm>
            <a:off x="237248" y="8891437"/>
            <a:ext cx="10599588" cy="519289"/>
            <a:chOff x="75" y="3921"/>
            <a:chExt cx="644" cy="22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51" dirty="0">
                  <a:solidFill>
                    <a:srgbClr val="000000"/>
                  </a:solidFill>
                  <a:latin typeface="Arial"/>
                  <a:cs typeface="Arial" charset="0"/>
                </a:rPr>
                <a:t>1 Footnote</a:t>
              </a:r>
            </a:p>
          </p:txBody>
        </p:sp>
        <p:sp>
          <p:nvSpPr>
            <p:cNvPr id="1080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644" cy="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503291" indent="-503291" defTabSz="958976" fontAlgn="base">
                <a:spcBef>
                  <a:spcPct val="0"/>
                </a:spcBef>
                <a:spcAft>
                  <a:spcPct val="0"/>
                </a:spcAft>
                <a:tabLst>
                  <a:tab pos="499893" algn="l"/>
                </a:tabLst>
              </a:pPr>
              <a:r>
                <a:rPr lang="en-GB" sz="1051" dirty="0">
                  <a:solidFill>
                    <a:srgbClr val="000000"/>
                  </a:solidFill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2075022" y="2163331"/>
            <a:ext cx="6091248" cy="535162"/>
            <a:chOff x="915" y="794"/>
            <a:chExt cx="2686" cy="236"/>
          </a:xfrm>
        </p:grpSpPr>
        <p:cxnSp>
          <p:nvCxnSpPr>
            <p:cNvPr id="1077" name="AutoShape 249"/>
            <p:cNvCxnSpPr>
              <a:cxnSpLocks noChangeShapeType="1"/>
              <a:stCxn id="1078" idx="4"/>
              <a:endCxn id="107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8" name="AutoShape 250"/>
            <p:cNvSpPr>
              <a:spLocks noChangeArrowheads="1"/>
            </p:cNvSpPr>
            <p:nvPr/>
          </p:nvSpPr>
          <p:spPr bwMode="auto">
            <a:xfrm>
              <a:off x="915" y="794"/>
              <a:ext cx="2686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b="1" dirty="0">
                  <a:solidFill>
                    <a:srgbClr val="000000"/>
                  </a:solidFill>
                  <a:cs typeface="Arial" charset="0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80" dirty="0">
                  <a:solidFill>
                    <a:srgbClr val="808080"/>
                  </a:solidFill>
                  <a:cs typeface="Arial" charset="0"/>
                </a:rPr>
                <a:t>Unit of measure</a:t>
              </a:r>
            </a:p>
          </p:txBody>
        </p:sp>
      </p:grpSp>
      <p:pic>
        <p:nvPicPr>
          <p:cNvPr id="1033" name="Picture 19" descr="green"/>
          <p:cNvPicPr>
            <a:picLocks noChangeAspect="1" noChangeArrowheads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8420" y="7868721"/>
            <a:ext cx="1873183" cy="172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20" descr="logo"/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33478" y="8567157"/>
            <a:ext cx="1025035" cy="975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1473551" y="410449"/>
            <a:ext cx="902576" cy="1405940"/>
            <a:chOff x="4936" y="176"/>
            <a:chExt cx="398" cy="620"/>
          </a:xfrm>
        </p:grpSpPr>
        <p:sp>
          <p:nvSpPr>
            <p:cNvPr id="106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7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7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1033605" y="419521"/>
            <a:ext cx="1342525" cy="975087"/>
            <a:chOff x="4750" y="176"/>
            <a:chExt cx="592" cy="43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680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6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6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1444747" y="428600"/>
            <a:ext cx="1119601" cy="221599"/>
            <a:chOff x="7956957" y="285750"/>
            <a:chExt cx="783818" cy="154871"/>
          </a:xfrm>
        </p:grpSpPr>
        <p:sp>
          <p:nvSpPr>
            <p:cNvPr id="1060" name="StickerRectangle"/>
            <p:cNvSpPr>
              <a:spLocks noChangeArrowheads="1"/>
            </p:cNvSpPr>
            <p:nvPr/>
          </p:nvSpPr>
          <p:spPr bwMode="auto">
            <a:xfrm>
              <a:off x="7956957" y="285750"/>
              <a:ext cx="783818" cy="1548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808080"/>
                  </a:solidFill>
                  <a:cs typeface="Arial" charset="0"/>
                </a:rPr>
                <a:t>PRELIMINARY</a:t>
              </a:r>
            </a:p>
          </p:txBody>
        </p:sp>
        <p:cxnSp>
          <p:nvCxnSpPr>
            <p:cNvPr id="1061" name="AutoShape 31"/>
            <p:cNvCxnSpPr>
              <a:cxnSpLocks noChangeShapeType="1"/>
              <a:stCxn id="1060" idx="2"/>
              <a:endCxn id="1060" idx="4"/>
            </p:cNvCxnSpPr>
            <p:nvPr/>
          </p:nvCxnSpPr>
          <p:spPr bwMode="auto">
            <a:xfrm>
              <a:off x="7956957" y="285750"/>
              <a:ext cx="0" cy="15487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32"/>
            <p:cNvCxnSpPr>
              <a:cxnSpLocks noChangeShapeType="1"/>
              <a:stCxn id="1060" idx="4"/>
              <a:endCxn id="1060" idx="6"/>
            </p:cNvCxnSpPr>
            <p:nvPr/>
          </p:nvCxnSpPr>
          <p:spPr bwMode="auto">
            <a:xfrm>
              <a:off x="7956957" y="440621"/>
              <a:ext cx="78381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1378336" y="410444"/>
            <a:ext cx="996609" cy="1866270"/>
            <a:chOff x="6655594" y="273840"/>
            <a:chExt cx="697790" cy="1306516"/>
          </a:xfrm>
        </p:grpSpPr>
        <p:grpSp>
          <p:nvGrpSpPr>
            <p:cNvPr id="1040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1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2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043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sp>
          <p:nvSpPr>
            <p:cNvPr id="1044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5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6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7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sp>
          <p:nvSpPr>
            <p:cNvPr id="1048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77115" cy="1357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58976" fontAlgn="base">
                <a:spcBef>
                  <a:spcPct val="0"/>
                </a:spcBef>
                <a:spcAft>
                  <a:spcPct val="0"/>
                </a:spcAft>
                <a:buClr>
                  <a:srgbClr val="3D6E4D"/>
                </a:buClr>
              </a:pPr>
              <a:r>
                <a:rPr lang="en-GB" sz="1260" dirty="0">
                  <a:solidFill>
                    <a:srgbClr val="000000"/>
                  </a:solidFill>
                  <a:cs typeface="Arial" charset="0"/>
                </a:rPr>
                <a:t>Legend</a:t>
              </a:r>
            </a:p>
          </p:txBody>
        </p:sp>
        <p:grpSp>
          <p:nvGrpSpPr>
            <p:cNvPr id="1049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 sz="1680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</p:grpSp>
      <p:sp>
        <p:nvSpPr>
          <p:cNvPr id="1039" name="TextBox 2"/>
          <p:cNvSpPr txBox="1">
            <a:spLocks noChangeArrowheads="1"/>
          </p:cNvSpPr>
          <p:nvPr/>
        </p:nvSpPr>
        <p:spPr bwMode="auto">
          <a:xfrm>
            <a:off x="11327550" y="9186229"/>
            <a:ext cx="362903" cy="26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940" tIns="48969" rIns="97940" bIns="48969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FCE323BA-7C57-40D6-A8E7-C624A0CFE227}" type="slidenum">
              <a:rPr lang="en-GB" sz="1051" smtClean="0">
                <a:solidFill>
                  <a:srgbClr val="000000"/>
                </a:solidFill>
                <a:cs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051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64" name="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9790691" y="1497771"/>
            <a:ext cx="362844" cy="362823"/>
            <a:chOff x="1600" y="1600"/>
            <a:chExt cx="160" cy="160"/>
          </a:xfrm>
        </p:grpSpPr>
        <p:sp>
          <p:nvSpPr>
            <p:cNvPr id="65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  <p:sp>
          <p:nvSpPr>
            <p:cNvPr id="66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8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8770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237" r:id="rId2"/>
    <p:sldLayoutId id="2147484238" r:id="rId3"/>
    <p:sldLayoutId id="2147484239" r:id="rId4"/>
    <p:sldLayoutId id="2147484240" r:id="rId5"/>
  </p:sldLayoutIdLst>
  <p:hf hdr="0" ftr="0" dt="0"/>
  <p:txStyles>
    <p:titleStyle>
      <a:lvl1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958976" rtl="0" eaLnBrk="1" fontAlgn="base" hangingPunct="1">
        <a:spcBef>
          <a:spcPct val="0"/>
        </a:spcBef>
        <a:spcAft>
          <a:spcPct val="0"/>
        </a:spcAft>
        <a:tabLst>
          <a:tab pos="289053" algn="l"/>
        </a:tabLst>
        <a:defRPr sz="1995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48968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6pPr>
      <a:lvl7pPr marL="97937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7pPr>
      <a:lvl8pPr marL="1469069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8pPr>
      <a:lvl9pPr marL="1958760" algn="l" defTabSz="958976" rtl="0" eaLnBrk="1" fontAlgn="base" hangingPunct="1">
        <a:spcBef>
          <a:spcPct val="0"/>
        </a:spcBef>
        <a:spcAft>
          <a:spcPct val="0"/>
        </a:spcAft>
        <a:defRPr sz="1995" b="1">
          <a:solidFill>
            <a:schemeClr val="tx2"/>
          </a:solidFill>
          <a:latin typeface="Arial" charset="0"/>
        </a:defRPr>
      </a:lvl9pPr>
    </p:titleStyle>
    <p:bodyStyle>
      <a:lvl1pPr marL="367268" indent="-367268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80">
          <a:solidFill>
            <a:schemeClr val="tx1"/>
          </a:solidFill>
          <a:latin typeface="+mn-lt"/>
          <a:ea typeface="+mn-ea"/>
          <a:cs typeface="+mn-cs"/>
        </a:defRPr>
      </a:lvl1pPr>
      <a:lvl2pPr marL="207439" indent="-205738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80">
          <a:solidFill>
            <a:schemeClr val="tx1"/>
          </a:solidFill>
          <a:latin typeface="+mn-lt"/>
          <a:ea typeface="ＭＳ Ｐゴシック" pitchFamily="34" charset="-128"/>
        </a:defRPr>
      </a:lvl2pPr>
      <a:lvl3pPr marL="489689" indent="-280551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80">
          <a:solidFill>
            <a:schemeClr val="tx1"/>
          </a:solidFill>
          <a:latin typeface="+mn-lt"/>
          <a:ea typeface="ＭＳ Ｐゴシック" pitchFamily="34" charset="-128"/>
        </a:defRPr>
      </a:lvl3pPr>
      <a:lvl4pPr marL="658021" indent="-166630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80">
          <a:solidFill>
            <a:schemeClr val="tx1"/>
          </a:solidFill>
          <a:latin typeface="+mn-lt"/>
          <a:ea typeface="ＭＳ Ｐゴシック" pitchFamily="34" charset="-128"/>
        </a:defRPr>
      </a:lvl4pPr>
      <a:lvl5pPr marL="802547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>
          <a:solidFill>
            <a:schemeClr val="tx1"/>
          </a:solidFill>
          <a:latin typeface="+mn-lt"/>
          <a:ea typeface="ＭＳ Ｐゴシック" pitchFamily="34" charset="-128"/>
        </a:defRPr>
      </a:lvl5pPr>
      <a:lvl6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6pPr>
      <a:lvl7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7pPr>
      <a:lvl8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8pPr>
      <a:lvl9pPr marL="803091" indent="-139426" algn="l" defTabSz="95897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8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1pPr>
      <a:lvl2pPr marL="48968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2pPr>
      <a:lvl3pPr marL="97937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3pPr>
      <a:lvl4pPr marL="1469069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4pPr>
      <a:lvl5pPr marL="195876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5pPr>
      <a:lvl6pPr marL="2448450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6pPr>
      <a:lvl7pPr marL="2938136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7pPr>
      <a:lvl8pPr marL="3427827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8pPr>
      <a:lvl9pPr marL="3917517" algn="l" defTabSz="979379" rtl="0" eaLnBrk="1" latinLnBrk="0" hangingPunct="1">
        <a:defRPr sz="18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Google Shape;10;p1">
            <a:extLst>
              <a:ext uri="{FF2B5EF4-FFF2-40B4-BE49-F238E27FC236}">
                <a16:creationId xmlns:a16="http://schemas.microsoft.com/office/drawing/2014/main" id="{6DED2944-97D8-44E5-AF1D-56C1E4518B61}"/>
              </a:ext>
            </a:extLst>
          </p:cNvPr>
          <p:cNvSpPr txBox="1">
            <a:spLocks noGrp="1"/>
          </p:cNvSpPr>
          <p:nvPr>
            <p:ph type="body" idx="1"/>
          </p:nvPr>
        </p:nvSpPr>
        <p:spPr bwMode="auto">
          <a:xfrm>
            <a:off x="2076450" y="2787650"/>
            <a:ext cx="6143626" cy="35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sp>
        <p:nvSpPr>
          <p:cNvPr id="9219" name="Google Shape;11;p1">
            <a:extLst>
              <a:ext uri="{FF2B5EF4-FFF2-40B4-BE49-F238E27FC236}">
                <a16:creationId xmlns:a16="http://schemas.microsoft.com/office/drawing/2014/main" id="{F6B3DC8E-D7EE-4EC5-BA71-248B62DF3279}"/>
              </a:ext>
            </a:extLst>
          </p:cNvPr>
          <p:cNvSpPr txBox="1">
            <a:spLocks noGrp="1"/>
          </p:cNvSpPr>
          <p:nvPr>
            <p:ph type="title"/>
          </p:nvPr>
        </p:nvSpPr>
        <p:spPr bwMode="auto">
          <a:xfrm>
            <a:off x="169864" y="328614"/>
            <a:ext cx="123110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>
              <a:sym typeface="Arial" panose="020B0604020202020204" pitchFamily="34" charset="0"/>
            </a:endParaRPr>
          </a:p>
        </p:txBody>
      </p:sp>
      <p:grpSp>
        <p:nvGrpSpPr>
          <p:cNvPr id="9220" name="Google Shape;12;p1">
            <a:extLst>
              <a:ext uri="{FF2B5EF4-FFF2-40B4-BE49-F238E27FC236}">
                <a16:creationId xmlns:a16="http://schemas.microsoft.com/office/drawing/2014/main" id="{F9B34B23-0FEF-4A35-BA5F-04443E0CB6F7}"/>
              </a:ext>
            </a:extLst>
          </p:cNvPr>
          <p:cNvGrpSpPr>
            <a:grpSpLocks/>
          </p:cNvGrpSpPr>
          <p:nvPr/>
        </p:nvGrpSpPr>
        <p:grpSpPr bwMode="auto">
          <a:xfrm>
            <a:off x="12069764" y="8924926"/>
            <a:ext cx="731836" cy="676276"/>
            <a:chOff x="4814" y="3472"/>
            <a:chExt cx="826" cy="762"/>
          </a:xfrm>
        </p:grpSpPr>
        <p:pic>
          <p:nvPicPr>
            <p:cNvPr id="9221" name="Google Shape;13;p1" descr="green">
              <a:extLst>
                <a:ext uri="{FF2B5EF4-FFF2-40B4-BE49-F238E27FC236}">
                  <a16:creationId xmlns:a16="http://schemas.microsoft.com/office/drawing/2014/main" id="{F7EC3A89-16C7-4785-8D19-DD65000C479B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4" y="3472"/>
              <a:ext cx="826" cy="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2" name="Google Shape;14;p1" descr="Temp%20NPDC%20Logo">
              <a:extLst>
                <a:ext uri="{FF2B5EF4-FFF2-40B4-BE49-F238E27FC236}">
                  <a16:creationId xmlns:a16="http://schemas.microsoft.com/office/drawing/2014/main" id="{160E4E38-BFAD-4631-922A-00B584B03705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97"/>
            <a:stretch>
              <a:fillRect/>
            </a:stretch>
          </p:blipFill>
          <p:spPr bwMode="auto">
            <a:xfrm>
              <a:off x="5112" y="3688"/>
              <a:ext cx="436" cy="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7262297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243" r:id="rId1"/>
    <p:sldLayoutId id="2147484244" r:id="rId2"/>
    <p:sldLayoutId id="2147484245" r:id="rId3"/>
    <p:sldLayoutId id="2147484246" r:id="rId4"/>
    <p:sldLayoutId id="2147484247" r:id="rId5"/>
    <p:sldLayoutId id="2147484249" r:id="rId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1pPr>
      <a:lvl2pPr lvl="1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2pPr>
      <a:lvl3pPr lvl="2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3pPr>
      <a:lvl4pPr lvl="3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4pPr>
      <a:lvl5pPr lvl="4" algn="l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Font typeface="Arial" panose="020B0604020202020204" pitchFamily="34" charset="0"/>
        <a:defRPr sz="1477">
          <a:solidFill>
            <a:srgbClr val="000000"/>
          </a:solidFill>
          <a:latin typeface="Arial"/>
          <a:ea typeface="Arial"/>
          <a:cs typeface="Arial"/>
          <a:sym typeface="Arial" panose="020B0604020202020204" pitchFamily="34" charset="0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54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>
            <a:extLst>
              <a:ext uri="{FF2B5EF4-FFF2-40B4-BE49-F238E27FC236}">
                <a16:creationId xmlns:a16="http://schemas.microsoft.com/office/drawing/2014/main" id="{CB8E40FA-C282-4DF3-85B7-9DC21DE41C9E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5122" name="Object 1" hidden="1">
                        <a:extLst>
                          <a:ext uri="{FF2B5EF4-FFF2-40B4-BE49-F238E27FC236}">
                            <a16:creationId xmlns:a16="http://schemas.microsoft.com/office/drawing/2014/main" id="{CB8E40FA-C282-4DF3-85B7-9DC21DE41C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286">
            <a:extLst>
              <a:ext uri="{FF2B5EF4-FFF2-40B4-BE49-F238E27FC236}">
                <a16:creationId xmlns:a16="http://schemas.microsoft.com/office/drawing/2014/main" id="{F0316544-6FE5-48B9-BE15-A402B8430B7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075017" y="2786934"/>
            <a:ext cx="6145675" cy="1648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5124" name="Title Placeholder 2">
            <a:extLst>
              <a:ext uri="{FF2B5EF4-FFF2-40B4-BE49-F238E27FC236}">
                <a16:creationId xmlns:a16="http://schemas.microsoft.com/office/drawing/2014/main" id="{1FE085CE-9282-4417-B296-1A0CE57AE9F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38118" y="344683"/>
            <a:ext cx="12325365" cy="430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9" name="1. On-page tracker" hidden="1">
            <a:extLst>
              <a:ext uri="{FF2B5EF4-FFF2-40B4-BE49-F238E27FC236}">
                <a16:creationId xmlns:a16="http://schemas.microsoft.com/office/drawing/2014/main" id="{4EE93CBB-430A-42AE-8574-B46DF5290A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117" y="38551"/>
            <a:ext cx="1224694" cy="30745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defRPr/>
            </a:pPr>
            <a:r>
              <a:rPr lang="en-GB" altLang="en-US" sz="1998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11" name="3. Unit of measure" hidden="1">
            <a:extLst>
              <a:ext uri="{FF2B5EF4-FFF2-40B4-BE49-F238E27FC236}">
                <a16:creationId xmlns:a16="http://schemas.microsoft.com/office/drawing/2014/main" id="{CFE3D487-A26D-4733-AEE3-9440512846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118" y="759661"/>
            <a:ext cx="12325365" cy="35150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2284" dirty="0">
                <a:solidFill>
                  <a:srgbClr val="808080"/>
                </a:solidFill>
                <a:latin typeface="Arial"/>
                <a:ea typeface="+mn-ea"/>
                <a:cs typeface="Arial" charset="0"/>
              </a:rPr>
              <a:t>Unit of measure</a:t>
            </a:r>
          </a:p>
        </p:txBody>
      </p:sp>
      <p:grpSp>
        <p:nvGrpSpPr>
          <p:cNvPr id="5127" name="Slide Elements" hidden="1">
            <a:extLst>
              <a:ext uri="{FF2B5EF4-FFF2-40B4-BE49-F238E27FC236}">
                <a16:creationId xmlns:a16="http://schemas.microsoft.com/office/drawing/2014/main" id="{B900929E-635D-4794-89ED-3D2DCD21EDAB}"/>
              </a:ext>
            </a:extLst>
          </p:cNvPr>
          <p:cNvGrpSpPr>
            <a:grpSpLocks/>
          </p:cNvGrpSpPr>
          <p:nvPr/>
        </p:nvGrpSpPr>
        <p:grpSpPr bwMode="auto">
          <a:xfrm>
            <a:off x="238118" y="8832465"/>
            <a:ext cx="10599588" cy="578248"/>
            <a:chOff x="75" y="3895"/>
            <a:chExt cx="644" cy="255"/>
          </a:xfrm>
        </p:grpSpPr>
        <p:sp>
          <p:nvSpPr>
            <p:cNvPr id="13" name="4. Footnote">
              <a:extLst>
                <a:ext uri="{FF2B5EF4-FFF2-40B4-BE49-F238E27FC236}">
                  <a16:creationId xmlns:a16="http://schemas.microsoft.com/office/drawing/2014/main" id="{724809BF-D211-439E-A51E-A6BDE5431C6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" y="3895"/>
              <a:ext cx="644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GB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1 Footnote</a:t>
              </a:r>
            </a:p>
          </p:txBody>
        </p:sp>
        <p:sp>
          <p:nvSpPr>
            <p:cNvPr id="1083" name="5. Source">
              <a:extLst>
                <a:ext uri="{FF2B5EF4-FFF2-40B4-BE49-F238E27FC236}">
                  <a16:creationId xmlns:a16="http://schemas.microsoft.com/office/drawing/2014/main" id="{3264DD92-039A-4236-9DEA-908895600B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" y="4053"/>
              <a:ext cx="644" cy="9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469900" indent="-4699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667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GB" altLang="en-US" sz="1428">
                  <a:solidFill>
                    <a:srgbClr val="000000"/>
                  </a:solidFill>
                  <a:cs typeface="Arial" pitchFamily="34" charset="0"/>
                </a:rPr>
                <a:t>Source: Source</a:t>
              </a:r>
            </a:p>
          </p:txBody>
        </p:sp>
      </p:grpSp>
      <p:grpSp>
        <p:nvGrpSpPr>
          <p:cNvPr id="5128" name="ACET" hidden="1">
            <a:extLst>
              <a:ext uri="{FF2B5EF4-FFF2-40B4-BE49-F238E27FC236}">
                <a16:creationId xmlns:a16="http://schemas.microsoft.com/office/drawing/2014/main" id="{9BE9E8DF-EAF8-4B41-9CC8-CACCF76BEE92}"/>
              </a:ext>
            </a:extLst>
          </p:cNvPr>
          <p:cNvGrpSpPr>
            <a:grpSpLocks/>
          </p:cNvGrpSpPr>
          <p:nvPr/>
        </p:nvGrpSpPr>
        <p:grpSpPr bwMode="auto">
          <a:xfrm>
            <a:off x="2075017" y="1977387"/>
            <a:ext cx="6091248" cy="721111"/>
            <a:chOff x="915" y="712"/>
            <a:chExt cx="2686" cy="318"/>
          </a:xfrm>
        </p:grpSpPr>
        <p:cxnSp>
          <p:nvCxnSpPr>
            <p:cNvPr id="5176" name="AutoShape 249">
              <a:extLst>
                <a:ext uri="{FF2B5EF4-FFF2-40B4-BE49-F238E27FC236}">
                  <a16:creationId xmlns:a16="http://schemas.microsoft.com/office/drawing/2014/main" id="{80426898-7188-4EE8-9C3C-8BF94DF8BC59}"/>
                </a:ext>
              </a:extLst>
            </p:cNvPr>
            <p:cNvCxnSpPr>
              <a:cxnSpLocks noChangeShapeType="1"/>
              <a:stCxn id="1081" idx="4"/>
              <a:endCxn id="1081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81" name="AutoShape 250">
              <a:extLst>
                <a:ext uri="{FF2B5EF4-FFF2-40B4-BE49-F238E27FC236}">
                  <a16:creationId xmlns:a16="http://schemas.microsoft.com/office/drawing/2014/main" id="{943190D1-B764-4F8B-9329-F704DB44A2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5" y="712"/>
              <a:ext cx="2686" cy="3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defRPr/>
              </a:pPr>
              <a:r>
                <a:rPr lang="en-GB" altLang="en-US" sz="2284">
                  <a:solidFill>
                    <a:srgbClr val="000000"/>
                  </a:solidFill>
                  <a:cs typeface="Arial" pitchFamily="34" charset="0"/>
                </a:rPr>
                <a:t>Title</a:t>
              </a:r>
            </a:p>
            <a:p>
              <a:pPr>
                <a:defRPr/>
              </a:pPr>
              <a:r>
                <a:rPr lang="en-GB" altLang="en-US" sz="2284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pic>
        <p:nvPicPr>
          <p:cNvPr id="5129" name="Picture 19" descr="green">
            <a:extLst>
              <a:ext uri="{FF2B5EF4-FFF2-40B4-BE49-F238E27FC236}">
                <a16:creationId xmlns:a16="http://schemas.microsoft.com/office/drawing/2014/main" id="{AE4E19F1-E27A-4EA7-8990-D1CFE9D5E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8417" y="7868721"/>
            <a:ext cx="1873184" cy="172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30" name="Picture 20" descr="logo">
            <a:extLst>
              <a:ext uri="{FF2B5EF4-FFF2-40B4-BE49-F238E27FC236}">
                <a16:creationId xmlns:a16="http://schemas.microsoft.com/office/drawing/2014/main" id="{C2B9758E-BD80-43DD-ACFC-27802B4802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3477" y="8567156"/>
            <a:ext cx="1025035" cy="975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131" name="LegendBoxes" hidden="1">
            <a:extLst>
              <a:ext uri="{FF2B5EF4-FFF2-40B4-BE49-F238E27FC236}">
                <a16:creationId xmlns:a16="http://schemas.microsoft.com/office/drawing/2014/main" id="{CC7FE527-5183-4ADE-BA13-A2CA44D9CDED}"/>
              </a:ext>
            </a:extLst>
          </p:cNvPr>
          <p:cNvGrpSpPr>
            <a:grpSpLocks/>
          </p:cNvGrpSpPr>
          <p:nvPr/>
        </p:nvGrpSpPr>
        <p:grpSpPr bwMode="auto">
          <a:xfrm>
            <a:off x="11472677" y="410445"/>
            <a:ext cx="1093067" cy="1424080"/>
            <a:chOff x="4936" y="176"/>
            <a:chExt cx="482" cy="628"/>
          </a:xfrm>
        </p:grpSpPr>
        <p:sp>
          <p:nvSpPr>
            <p:cNvPr id="1072" name="Legend1">
              <a:extLst>
                <a:ext uri="{FF2B5EF4-FFF2-40B4-BE49-F238E27FC236}">
                  <a16:creationId xmlns:a16="http://schemas.microsoft.com/office/drawing/2014/main" id="{5727D84B-7E57-4B3F-B80A-258233272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176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3" name="LegendRectangle1">
              <a:extLst>
                <a:ext uri="{FF2B5EF4-FFF2-40B4-BE49-F238E27FC236}">
                  <a16:creationId xmlns:a16="http://schemas.microsoft.com/office/drawing/2014/main" id="{5713B4B0-9C2C-40EC-9B7A-602D833772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4" name="Legend2">
              <a:extLst>
                <a:ext uri="{FF2B5EF4-FFF2-40B4-BE49-F238E27FC236}">
                  <a16:creationId xmlns:a16="http://schemas.microsoft.com/office/drawing/2014/main" id="{59C6D88B-5E8C-4C32-A1AF-FF17AFC94C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346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5" name="LegendRectangle2">
              <a:extLst>
                <a:ext uri="{FF2B5EF4-FFF2-40B4-BE49-F238E27FC236}">
                  <a16:creationId xmlns:a16="http://schemas.microsoft.com/office/drawing/2014/main" id="{A840C1C5-4E28-4289-BC45-CAD25E5D81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6" name="Legend3">
              <a:extLst>
                <a:ext uri="{FF2B5EF4-FFF2-40B4-BE49-F238E27FC236}">
                  <a16:creationId xmlns:a16="http://schemas.microsoft.com/office/drawing/2014/main" id="{BC1018F3-2589-4D52-9B11-06427E3AB2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517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7" name="LegendRectangle3">
              <a:extLst>
                <a:ext uri="{FF2B5EF4-FFF2-40B4-BE49-F238E27FC236}">
                  <a16:creationId xmlns:a16="http://schemas.microsoft.com/office/drawing/2014/main" id="{A1410235-7120-4FA5-BC72-480CBB10B8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78" name="Legend4">
              <a:extLst>
                <a:ext uri="{FF2B5EF4-FFF2-40B4-BE49-F238E27FC236}">
                  <a16:creationId xmlns:a16="http://schemas.microsoft.com/office/drawing/2014/main" id="{5FE56B63-3470-4310-BD0A-B12B178E24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" y="688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9" name="LegendRectangle4">
              <a:extLst>
                <a:ext uri="{FF2B5EF4-FFF2-40B4-BE49-F238E27FC236}">
                  <a16:creationId xmlns:a16="http://schemas.microsoft.com/office/drawing/2014/main" id="{E036C806-304A-4C3D-AB5D-C8F8BA3AD2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132" name="LegendLines" hidden="1">
            <a:extLst>
              <a:ext uri="{FF2B5EF4-FFF2-40B4-BE49-F238E27FC236}">
                <a16:creationId xmlns:a16="http://schemas.microsoft.com/office/drawing/2014/main" id="{9C3E2053-2925-4016-84AD-73BE9388A7BF}"/>
              </a:ext>
            </a:extLst>
          </p:cNvPr>
          <p:cNvGrpSpPr>
            <a:grpSpLocks/>
          </p:cNvGrpSpPr>
          <p:nvPr/>
        </p:nvGrpSpPr>
        <p:grpSpPr bwMode="auto">
          <a:xfrm>
            <a:off x="11032731" y="419515"/>
            <a:ext cx="1533016" cy="1043116"/>
            <a:chOff x="4750" y="176"/>
            <a:chExt cx="676" cy="460"/>
          </a:xfrm>
        </p:grpSpPr>
        <p:sp>
          <p:nvSpPr>
            <p:cNvPr id="1066" name="LineLegend1">
              <a:extLst>
                <a:ext uri="{FF2B5EF4-FFF2-40B4-BE49-F238E27FC236}">
                  <a16:creationId xmlns:a16="http://schemas.microsoft.com/office/drawing/2014/main" id="{6C04D017-77CA-4075-8711-F0C9C752D1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284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1067" name="LineLegend2">
              <a:extLst>
                <a:ext uri="{FF2B5EF4-FFF2-40B4-BE49-F238E27FC236}">
                  <a16:creationId xmlns:a16="http://schemas.microsoft.com/office/drawing/2014/main" id="{B1ACD1DC-1BAB-423B-B83A-A21BCA2A90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284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1068" name="LineLegend3">
              <a:extLst>
                <a:ext uri="{FF2B5EF4-FFF2-40B4-BE49-F238E27FC236}">
                  <a16:creationId xmlns:a16="http://schemas.microsoft.com/office/drawing/2014/main" id="{63DF2758-C69E-4B98-B360-FE0126F716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D6E4D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US" sz="2284">
                <a:solidFill>
                  <a:srgbClr val="000000"/>
                </a:solidFill>
                <a:ea typeface="+mn-ea"/>
              </a:endParaRPr>
            </a:p>
          </p:txBody>
        </p:sp>
        <p:sp>
          <p:nvSpPr>
            <p:cNvPr id="1069" name="Legend1">
              <a:extLst>
                <a:ext uri="{FF2B5EF4-FFF2-40B4-BE49-F238E27FC236}">
                  <a16:creationId xmlns:a16="http://schemas.microsoft.com/office/drawing/2014/main" id="{A92F89EA-4CC4-4145-9848-732BAB809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76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0" name="Legend2">
              <a:extLst>
                <a:ext uri="{FF2B5EF4-FFF2-40B4-BE49-F238E27FC236}">
                  <a16:creationId xmlns:a16="http://schemas.microsoft.com/office/drawing/2014/main" id="{26B3D886-153F-4B7F-BE12-F260A9B7C3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344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71" name="Legend3">
              <a:extLst>
                <a:ext uri="{FF2B5EF4-FFF2-40B4-BE49-F238E27FC236}">
                  <a16:creationId xmlns:a16="http://schemas.microsoft.com/office/drawing/2014/main" id="{4A8C4A82-0166-444F-B10B-B9E4291500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520"/>
              <a:ext cx="322" cy="1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</p:grpSp>
      <p:grpSp>
        <p:nvGrpSpPr>
          <p:cNvPr id="5133" name="Sticker" hidden="1">
            <a:extLst>
              <a:ext uri="{FF2B5EF4-FFF2-40B4-BE49-F238E27FC236}">
                <a16:creationId xmlns:a16="http://schemas.microsoft.com/office/drawing/2014/main" id="{B8F236DA-69E5-486C-AAD2-31FE93F48D33}"/>
              </a:ext>
            </a:extLst>
          </p:cNvPr>
          <p:cNvGrpSpPr>
            <a:grpSpLocks/>
          </p:cNvGrpSpPr>
          <p:nvPr/>
        </p:nvGrpSpPr>
        <p:grpSpPr bwMode="auto">
          <a:xfrm>
            <a:off x="11053775" y="428586"/>
            <a:ext cx="1509710" cy="291490"/>
            <a:chOff x="7683621" y="285750"/>
            <a:chExt cx="1057154" cy="203889"/>
          </a:xfrm>
        </p:grpSpPr>
        <p:sp>
          <p:nvSpPr>
            <p:cNvPr id="1063" name="StickerRectangle">
              <a:extLst>
                <a:ext uri="{FF2B5EF4-FFF2-40B4-BE49-F238E27FC236}">
                  <a16:creationId xmlns:a16="http://schemas.microsoft.com/office/drawing/2014/main" id="{9CE362FA-CC5A-47A7-B02C-D145FF9532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83621" y="285750"/>
              <a:ext cx="1057154" cy="20388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r"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808080"/>
                  </a:solidFill>
                  <a:cs typeface="Arial" pitchFamily="34" charset="0"/>
                </a:rPr>
                <a:t>PRELIMINARY</a:t>
              </a:r>
            </a:p>
          </p:txBody>
        </p:sp>
        <p:cxnSp>
          <p:nvCxnSpPr>
            <p:cNvPr id="5160" name="AutoShape 31">
              <a:extLst>
                <a:ext uri="{FF2B5EF4-FFF2-40B4-BE49-F238E27FC236}">
                  <a16:creationId xmlns:a16="http://schemas.microsoft.com/office/drawing/2014/main" id="{C3807197-91B3-442C-9ECC-9BA2DFF1B36A}"/>
                </a:ext>
              </a:extLst>
            </p:cNvPr>
            <p:cNvCxnSpPr>
              <a:cxnSpLocks noChangeShapeType="1"/>
              <a:stCxn id="1063" idx="2"/>
              <a:endCxn id="1063" idx="4"/>
            </p:cNvCxnSpPr>
            <p:nvPr/>
          </p:nvCxnSpPr>
          <p:spPr bwMode="auto">
            <a:xfrm>
              <a:off x="7683621" y="285750"/>
              <a:ext cx="0" cy="20388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61" name="AutoShape 32">
              <a:extLst>
                <a:ext uri="{FF2B5EF4-FFF2-40B4-BE49-F238E27FC236}">
                  <a16:creationId xmlns:a16="http://schemas.microsoft.com/office/drawing/2014/main" id="{0DAE2395-278A-480D-B1AD-94EB77B10058}"/>
                </a:ext>
              </a:extLst>
            </p:cNvPr>
            <p:cNvCxnSpPr>
              <a:cxnSpLocks noChangeShapeType="1"/>
              <a:stCxn id="1063" idx="4"/>
              <a:endCxn id="1063" idx="6"/>
            </p:cNvCxnSpPr>
            <p:nvPr/>
          </p:nvCxnSpPr>
          <p:spPr bwMode="auto">
            <a:xfrm>
              <a:off x="7683621" y="489639"/>
              <a:ext cx="105715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134" name="LegendMoons" hidden="1">
            <a:extLst>
              <a:ext uri="{FF2B5EF4-FFF2-40B4-BE49-F238E27FC236}">
                <a16:creationId xmlns:a16="http://schemas.microsoft.com/office/drawing/2014/main" id="{87AC1DAA-0FF3-42D8-9ED8-3AE01AB82B74}"/>
              </a:ext>
            </a:extLst>
          </p:cNvPr>
          <p:cNvGrpSpPr>
            <a:grpSpLocks/>
          </p:cNvGrpSpPr>
          <p:nvPr/>
        </p:nvGrpSpPr>
        <p:grpSpPr bwMode="auto">
          <a:xfrm>
            <a:off x="11377440" y="410444"/>
            <a:ext cx="1189059" cy="1866270"/>
            <a:chOff x="6655594" y="273840"/>
            <a:chExt cx="833057" cy="1306516"/>
          </a:xfrm>
        </p:grpSpPr>
        <p:grpSp>
          <p:nvGrpSpPr>
            <p:cNvPr id="5139" name="MoonLegend1">
              <a:extLst>
                <a:ext uri="{FF2B5EF4-FFF2-40B4-BE49-F238E27FC236}">
                  <a16:creationId xmlns:a16="http://schemas.microsoft.com/office/drawing/2014/main" id="{857A0261-0A43-4AB2-B795-FC3809C6A046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61" name="Oval 38">
                <a:extLst>
                  <a:ext uri="{FF2B5EF4-FFF2-40B4-BE49-F238E27FC236}">
                    <a16:creationId xmlns:a16="http://schemas.microsoft.com/office/drawing/2014/main" id="{CB90B96A-CD56-4117-AA7A-311B8EF4DFA0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2" name="Arc 39">
                <a:extLst>
                  <a:ext uri="{FF2B5EF4-FFF2-40B4-BE49-F238E27FC236}">
                    <a16:creationId xmlns:a16="http://schemas.microsoft.com/office/drawing/2014/main" id="{BA98863B-A4C4-4280-8C1A-9BE9F28AB0E0}"/>
                  </a:ext>
                </a:extLst>
              </p:cNvPr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  <p:grpSp>
          <p:nvGrpSpPr>
            <p:cNvPr id="5140" name="MoonLegend2">
              <a:extLst>
                <a:ext uri="{FF2B5EF4-FFF2-40B4-BE49-F238E27FC236}">
                  <a16:creationId xmlns:a16="http://schemas.microsoft.com/office/drawing/2014/main" id="{AFAD985A-7EA0-4E59-934D-47E74FC7FB16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59" name="Oval 41">
                <a:extLst>
                  <a:ext uri="{FF2B5EF4-FFF2-40B4-BE49-F238E27FC236}">
                    <a16:creationId xmlns:a16="http://schemas.microsoft.com/office/drawing/2014/main" id="{E7AAF015-5374-4D14-8B2B-363F525C33B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60" name="Arc 42">
                <a:extLst>
                  <a:ext uri="{FF2B5EF4-FFF2-40B4-BE49-F238E27FC236}">
                    <a16:creationId xmlns:a16="http://schemas.microsoft.com/office/drawing/2014/main" id="{CFA72B62-2643-4FA0-ABB6-305675021946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  <p:grpSp>
          <p:nvGrpSpPr>
            <p:cNvPr id="5141" name="MoonLegend4">
              <a:extLst>
                <a:ext uri="{FF2B5EF4-FFF2-40B4-BE49-F238E27FC236}">
                  <a16:creationId xmlns:a16="http://schemas.microsoft.com/office/drawing/2014/main" id="{CF8B0562-A6BB-4316-B2CB-26353C2B7860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57" name="Oval 47">
                <a:extLst>
                  <a:ext uri="{FF2B5EF4-FFF2-40B4-BE49-F238E27FC236}">
                    <a16:creationId xmlns:a16="http://schemas.microsoft.com/office/drawing/2014/main" id="{DE805C76-F007-4E4C-8F19-2C30DEB24A9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8" name="Arc 48">
                <a:extLst>
                  <a:ext uri="{FF2B5EF4-FFF2-40B4-BE49-F238E27FC236}">
                    <a16:creationId xmlns:a16="http://schemas.microsoft.com/office/drawing/2014/main" id="{6640715E-166B-467E-98BC-F7571B6F81CC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  <p:grpSp>
          <p:nvGrpSpPr>
            <p:cNvPr id="5142" name="MoonLegend5">
              <a:extLst>
                <a:ext uri="{FF2B5EF4-FFF2-40B4-BE49-F238E27FC236}">
                  <a16:creationId xmlns:a16="http://schemas.microsoft.com/office/drawing/2014/main" id="{81D656E1-EE92-4C0C-9613-9B73C1814A3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55" name="Oval 50">
                <a:extLst>
                  <a:ext uri="{FF2B5EF4-FFF2-40B4-BE49-F238E27FC236}">
                    <a16:creationId xmlns:a16="http://schemas.microsoft.com/office/drawing/2014/main" id="{CB7B2AA4-3DA8-4C44-836B-FDD64608350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6" name="Oval 51">
                <a:extLst>
                  <a:ext uri="{FF2B5EF4-FFF2-40B4-BE49-F238E27FC236}">
                    <a16:creationId xmlns:a16="http://schemas.microsoft.com/office/drawing/2014/main" id="{E18231B8-253C-4165-8AE3-AC54FE3DC363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w 10000"/>
                  <a:gd name="T9" fmla="*/ 0 h 1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  <p:sp>
          <p:nvSpPr>
            <p:cNvPr id="1047" name="Legend1">
              <a:extLst>
                <a:ext uri="{FF2B5EF4-FFF2-40B4-BE49-F238E27FC236}">
                  <a16:creationId xmlns:a16="http://schemas.microsoft.com/office/drawing/2014/main" id="{87BC680E-8454-4193-AC87-CE8085BA18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286540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48" name="Legend2">
              <a:extLst>
                <a:ext uri="{FF2B5EF4-FFF2-40B4-BE49-F238E27FC236}">
                  <a16:creationId xmlns:a16="http://schemas.microsoft.com/office/drawing/2014/main" id="{0CAEA0D6-5259-4DDC-ADFF-0F5E70982E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561178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49" name="Legend3">
              <a:extLst>
                <a:ext uri="{FF2B5EF4-FFF2-40B4-BE49-F238E27FC236}">
                  <a16:creationId xmlns:a16="http://schemas.microsoft.com/office/drawing/2014/main" id="{9D18F572-2260-4EA7-80EA-901FBF7E4F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835817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50" name="Legend4">
              <a:extLst>
                <a:ext uri="{FF2B5EF4-FFF2-40B4-BE49-F238E27FC236}">
                  <a16:creationId xmlns:a16="http://schemas.microsoft.com/office/drawing/2014/main" id="{7D4DBBF7-D429-4EFC-8F87-D0E5681F7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1107280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sp>
          <p:nvSpPr>
            <p:cNvPr id="1051" name="Legend5">
              <a:extLst>
                <a:ext uri="{FF2B5EF4-FFF2-40B4-BE49-F238E27FC236}">
                  <a16:creationId xmlns:a16="http://schemas.microsoft.com/office/drawing/2014/main" id="{FAAD0B93-B18F-4EFD-9E42-A4950B98F3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533" y="1383505"/>
              <a:ext cx="512118" cy="1846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buClr>
                  <a:srgbClr val="3D6E4D"/>
                </a:buClr>
                <a:defRPr/>
              </a:pPr>
              <a:r>
                <a:rPr lang="en-GB" altLang="en-US" sz="1714">
                  <a:solidFill>
                    <a:srgbClr val="000000"/>
                  </a:solidFill>
                  <a:cs typeface="Arial" pitchFamily="34" charset="0"/>
                </a:rPr>
                <a:t>Legend</a:t>
              </a:r>
            </a:p>
          </p:txBody>
        </p:sp>
        <p:grpSp>
          <p:nvGrpSpPr>
            <p:cNvPr id="5148" name="MoonLegend3">
              <a:extLst>
                <a:ext uri="{FF2B5EF4-FFF2-40B4-BE49-F238E27FC236}">
                  <a16:creationId xmlns:a16="http://schemas.microsoft.com/office/drawing/2014/main" id="{B0583021-7659-4E58-93CF-8BCF3D6311A6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53" name="Oval 47">
                <a:extLst>
                  <a:ext uri="{FF2B5EF4-FFF2-40B4-BE49-F238E27FC236}">
                    <a16:creationId xmlns:a16="http://schemas.microsoft.com/office/drawing/2014/main" id="{21F5C0BA-3EF6-415C-871E-415F1D12A2E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>
                  <a:defRPr/>
                </a:pPr>
                <a:endParaRPr lang="en-GB" altLang="en-US" sz="228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54" name="Arc 48">
                <a:extLst>
                  <a:ext uri="{FF2B5EF4-FFF2-40B4-BE49-F238E27FC236}">
                    <a16:creationId xmlns:a16="http://schemas.microsoft.com/office/drawing/2014/main" id="{5DE5B3DF-9B08-440B-B727-144410C7C126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5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rgbClr val="3D6E4D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ZA" sz="2284">
                  <a:solidFill>
                    <a:srgbClr val="000000"/>
                  </a:solidFill>
                  <a:ea typeface="+mn-ea"/>
                </a:endParaRPr>
              </a:p>
            </p:txBody>
          </p:sp>
        </p:grpSp>
      </p:grpSp>
      <p:sp>
        <p:nvSpPr>
          <p:cNvPr id="1039" name="TextBox 2">
            <a:extLst>
              <a:ext uri="{FF2B5EF4-FFF2-40B4-BE49-F238E27FC236}">
                <a16:creationId xmlns:a16="http://schemas.microsoft.com/office/drawing/2014/main" id="{6DE9ADB7-1F79-441C-92C9-F60CFC0AA9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7545" y="9186222"/>
            <a:ext cx="401308" cy="285616"/>
          </a:xfrm>
          <a:prstGeom prst="rect">
            <a:avLst/>
          </a:prstGeom>
          <a:noFill/>
          <a:ln>
            <a:noFill/>
          </a:ln>
        </p:spPr>
        <p:txBody>
          <a:bodyPr wrap="none" lIns="130451" tIns="65227" rIns="130451" bIns="65227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73DF7887-E97C-4078-8D36-7BB0E199E103}" type="slidenum">
              <a:rPr lang="en-GB" altLang="en-US" sz="1000">
                <a:solidFill>
                  <a:srgbClr val="000000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GB" altLang="en-US" sz="10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5136" name="Moon" hidden="1">
            <a:extLst>
              <a:ext uri="{FF2B5EF4-FFF2-40B4-BE49-F238E27FC236}">
                <a16:creationId xmlns:a16="http://schemas.microsoft.com/office/drawing/2014/main" id="{0ECA5000-DFCA-4B45-87A9-DDAD19D6C279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auto">
          <a:xfrm>
            <a:off x="9789993" y="1496644"/>
            <a:ext cx="362844" cy="362823"/>
            <a:chOff x="1600" y="1600"/>
            <a:chExt cx="160" cy="160"/>
          </a:xfrm>
        </p:grpSpPr>
        <p:sp>
          <p:nvSpPr>
            <p:cNvPr id="1041" name="Oval 90">
              <a:extLst>
                <a:ext uri="{FF2B5EF4-FFF2-40B4-BE49-F238E27FC236}">
                  <a16:creationId xmlns:a16="http://schemas.microsoft.com/office/drawing/2014/main" id="{DAB19F96-1574-4822-B6BE-9553770B19E8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defRPr/>
              </a:pPr>
              <a:endParaRPr lang="en-GB" altLang="en-US" sz="2284">
                <a:solidFill>
                  <a:srgbClr val="000000"/>
                </a:solidFill>
              </a:endParaRPr>
            </a:p>
          </p:txBody>
        </p:sp>
        <p:sp>
          <p:nvSpPr>
            <p:cNvPr id="1042" name="Arc 91">
              <a:extLst>
                <a:ext uri="{FF2B5EF4-FFF2-40B4-BE49-F238E27FC236}">
                  <a16:creationId xmlns:a16="http://schemas.microsoft.com/office/drawing/2014/main" id="{AE3FDFB5-8195-4477-A02F-EA6CDACD3EB7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auto">
            <a:xfrm>
              <a:off x="1600" y="1600"/>
              <a:ext cx="160" cy="160"/>
            </a:xfrm>
            <a:custGeom>
              <a:avLst/>
              <a:gdLst>
                <a:gd name="T0" fmla="*/ 0 w 10000"/>
                <a:gd name="T1" fmla="*/ 0 h 10000"/>
                <a:gd name="T2" fmla="*/ 0 w 10000"/>
                <a:gd name="T3" fmla="*/ 0 h 1000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000" h="10000" stroke="0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  <a:lnTo>
                    <a:pt x="5000" y="5000"/>
                  </a:lnTo>
                  <a:lnTo>
                    <a:pt x="5000" y="0"/>
                  </a:lnTo>
                  <a:close/>
                </a:path>
                <a:path w="10000" h="10000" fill="none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</a:path>
              </a:pathLst>
            </a:custGeom>
            <a:solidFill>
              <a:srgbClr val="3D6E4D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ZA" sz="2284">
                <a:solidFill>
                  <a:srgbClr val="000000"/>
                </a:solidFill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5755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4" r:id="rId1"/>
    <p:sldLayoutId id="2147484255" r:id="rId2"/>
    <p:sldLayoutId id="2147484256" r:id="rId3"/>
    <p:sldLayoutId id="2147484257" r:id="rId4"/>
    <p:sldLayoutId id="2147484258" r:id="rId5"/>
    <p:sldLayoutId id="2147484259" r:id="rId6"/>
    <p:sldLayoutId id="2147484260" r:id="rId7"/>
    <p:sldLayoutId id="2147484261" r:id="rId8"/>
    <p:sldLayoutId id="2147484263" r:id="rId9"/>
  </p:sldLayoutIdLst>
  <p:hf hdr="0" ftr="0" dt="0"/>
  <p:txStyles>
    <p:titleStyle>
      <a:lvl1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Arial" charset="0"/>
          <a:ea typeface="ＭＳ Ｐゴシック" pitchFamily="34" charset="-128"/>
        </a:defRPr>
      </a:lvl2pPr>
      <a:lvl3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Arial" charset="0"/>
          <a:ea typeface="ＭＳ Ｐゴシック" pitchFamily="34" charset="-128"/>
        </a:defRPr>
      </a:lvl3pPr>
      <a:lvl4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Arial" charset="0"/>
          <a:ea typeface="ＭＳ Ｐゴシック" pitchFamily="34" charset="-128"/>
        </a:defRPr>
      </a:lvl4pPr>
      <a:lvl5pPr algn="l" defTabSz="1276651" rtl="0" eaLnBrk="0" fontAlgn="base" hangingPunct="0">
        <a:spcBef>
          <a:spcPct val="0"/>
        </a:spcBef>
        <a:spcAft>
          <a:spcPct val="0"/>
        </a:spcAft>
        <a:tabLst>
          <a:tab pos="383223" algn="l"/>
        </a:tabLst>
        <a:defRPr sz="2714" b="1">
          <a:solidFill>
            <a:schemeClr val="tx2"/>
          </a:solidFill>
          <a:latin typeface="Arial" charset="0"/>
          <a:ea typeface="ＭＳ Ｐゴシック" pitchFamily="34" charset="-128"/>
        </a:defRPr>
      </a:lvl5pPr>
      <a:lvl6pPr marL="652202" algn="l" defTabSz="1277237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6pPr>
      <a:lvl7pPr marL="1304409" algn="l" defTabSz="1277237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7pPr>
      <a:lvl8pPr marL="1956622" algn="l" defTabSz="1277237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8pPr>
      <a:lvl9pPr marL="2608827" algn="l" defTabSz="1277237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9pPr>
    </p:titleStyle>
    <p:bodyStyle>
      <a:lvl1pPr marL="487531" indent="-487531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2143">
          <a:solidFill>
            <a:schemeClr val="tx1"/>
          </a:solidFill>
          <a:latin typeface="+mn-lt"/>
          <a:ea typeface="+mn-ea"/>
          <a:cs typeface="+mn-cs"/>
        </a:defRPr>
      </a:lvl1pPr>
      <a:lvl2pPr marL="274378" indent="-272110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2143">
          <a:solidFill>
            <a:schemeClr val="tx1"/>
          </a:solidFill>
          <a:latin typeface="+mn-lt"/>
          <a:ea typeface="ＭＳ Ｐゴシック" pitchFamily="34" charset="-128"/>
        </a:defRPr>
      </a:lvl2pPr>
      <a:lvl3pPr marL="650798" indent="-371884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2143">
          <a:solidFill>
            <a:schemeClr val="tx1"/>
          </a:solidFill>
          <a:latin typeface="+mn-lt"/>
          <a:ea typeface="ＭＳ Ｐゴシック" pitchFamily="34" charset="-128"/>
        </a:defRPr>
      </a:lvl3pPr>
      <a:lvl4pPr marL="875288" indent="-219956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2143">
          <a:solidFill>
            <a:schemeClr val="tx1"/>
          </a:solidFill>
          <a:latin typeface="+mn-lt"/>
          <a:ea typeface="ＭＳ Ｐゴシック" pitchFamily="34" charset="-128"/>
        </a:defRPr>
      </a:lvl4pPr>
      <a:lvl5pPr marL="1068033" indent="-183675" algn="l" defTabSz="1276651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2143">
          <a:solidFill>
            <a:schemeClr val="tx1"/>
          </a:solidFill>
          <a:latin typeface="+mn-lt"/>
          <a:ea typeface="ＭＳ Ｐゴシック" pitchFamily="34" charset="-128"/>
        </a:defRPr>
      </a:lvl5pPr>
      <a:lvl6pPr marL="1069619" indent="-185698" algn="l" defTabSz="12772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4" baseline="0">
          <a:solidFill>
            <a:schemeClr val="tx1"/>
          </a:solidFill>
          <a:latin typeface="+mn-lt"/>
        </a:defRPr>
      </a:lvl6pPr>
      <a:lvl7pPr marL="1069619" indent="-185698" algn="l" defTabSz="12772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4" baseline="0">
          <a:solidFill>
            <a:schemeClr val="tx1"/>
          </a:solidFill>
          <a:latin typeface="+mn-lt"/>
        </a:defRPr>
      </a:lvl7pPr>
      <a:lvl8pPr marL="1069619" indent="-185698" algn="l" defTabSz="12772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4" baseline="0">
          <a:solidFill>
            <a:schemeClr val="tx1"/>
          </a:solidFill>
          <a:latin typeface="+mn-lt"/>
        </a:defRPr>
      </a:lvl8pPr>
      <a:lvl9pPr marL="1069619" indent="-185698" algn="l" defTabSz="127723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1pPr>
      <a:lvl2pPr marL="652202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2pPr>
      <a:lvl3pPr marL="1304409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3pPr>
      <a:lvl4pPr marL="1956622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4pPr>
      <a:lvl5pPr marL="2608827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5pPr>
      <a:lvl6pPr marL="3261033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6pPr>
      <a:lvl7pPr marL="3913237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7pPr>
      <a:lvl8pPr marL="4565446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8pPr>
      <a:lvl9pPr marL="5217654" algn="l" defTabSz="130440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353.xml"/><Relationship Id="rId7" Type="http://schemas.openxmlformats.org/officeDocument/2006/relationships/image" Target="../media/image32.jpg"/><Relationship Id="rId2" Type="http://schemas.openxmlformats.org/officeDocument/2006/relationships/tags" Target="../tags/tag352.xml"/><Relationship Id="rId1" Type="http://schemas.openxmlformats.org/officeDocument/2006/relationships/vmlDrawing" Target="../drawings/vmlDrawing34.vml"/><Relationship Id="rId6" Type="http://schemas.openxmlformats.org/officeDocument/2006/relationships/chart" Target="../charts/chart2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355.xml"/><Relationship Id="rId7" Type="http://schemas.openxmlformats.org/officeDocument/2006/relationships/image" Target="../media/image32.jpg"/><Relationship Id="rId2" Type="http://schemas.openxmlformats.org/officeDocument/2006/relationships/tags" Target="../tags/tag354.xml"/><Relationship Id="rId1" Type="http://schemas.openxmlformats.org/officeDocument/2006/relationships/vmlDrawing" Target="../drawings/vmlDrawing35.vml"/><Relationship Id="rId6" Type="http://schemas.openxmlformats.org/officeDocument/2006/relationships/chart" Target="../charts/chart3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1.xml"/><Relationship Id="rId4" Type="http://schemas.openxmlformats.org/officeDocument/2006/relationships/hyperlink" Target="http://www.globalpetrolprices.com/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tags" Target="../tags/tag357.xml"/><Relationship Id="rId7" Type="http://schemas.openxmlformats.org/officeDocument/2006/relationships/image" Target="../media/image38.png"/><Relationship Id="rId2" Type="http://schemas.openxmlformats.org/officeDocument/2006/relationships/tags" Target="../tags/tag35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41.png"/><Relationship Id="rId4" Type="http://schemas.openxmlformats.org/officeDocument/2006/relationships/slideLayout" Target="../slideLayouts/slideLayout82.xml"/><Relationship Id="rId9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58.xml"/><Relationship Id="rId1" Type="http://schemas.openxmlformats.org/officeDocument/2006/relationships/vmlDrawing" Target="../drawings/vmlDrawing37.vml"/><Relationship Id="rId5" Type="http://schemas.openxmlformats.org/officeDocument/2006/relationships/oleObject" Target="../embeddings/oleObject38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378" name="Picture 2">
            <a:extLst>
              <a:ext uri="{FF2B5EF4-FFF2-40B4-BE49-F238E27FC236}">
                <a16:creationId xmlns:a16="http://schemas.microsoft.com/office/drawing/2014/main" id="{D6896B71-F3BE-46C1-9A6F-573B672E90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26" b="16826"/>
          <a:stretch>
            <a:fillRect/>
          </a:stretch>
        </p:blipFill>
        <p:spPr bwMode="auto">
          <a:xfrm>
            <a:off x="0" y="0"/>
            <a:ext cx="12801600" cy="960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15D0240-FF60-4C42-84EE-75E7450F89C3}"/>
              </a:ext>
            </a:extLst>
          </p:cNvPr>
          <p:cNvSpPr/>
          <p:nvPr/>
        </p:nvSpPr>
        <p:spPr>
          <a:xfrm>
            <a:off x="488706" y="3092932"/>
            <a:ext cx="12312895" cy="764931"/>
          </a:xfrm>
          <a:prstGeom prst="rect">
            <a:avLst/>
          </a:prstGeom>
          <a:gradFill flip="none" rotWithShape="1">
            <a:gsLst>
              <a:gs pos="0">
                <a:srgbClr val="C3D422">
                  <a:shade val="30000"/>
                  <a:satMod val="115000"/>
                </a:srgbClr>
              </a:gs>
              <a:gs pos="50000">
                <a:srgbClr val="C3D422">
                  <a:shade val="67500"/>
                  <a:satMod val="115000"/>
                </a:srgbClr>
              </a:gs>
              <a:gs pos="100000">
                <a:srgbClr val="C3D422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10067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47A64A6F-B064-4480-9A42-100BA56BBC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73434" y="3270882"/>
            <a:ext cx="6240853" cy="400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defTabSz="109061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895600" indent="1588" defTabSz="1090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352800" indent="1588" defTabSz="1090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810000" indent="1588" defTabSz="1090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267200" indent="1588" defTabSz="10906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1006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1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stinct Dedication to Delivery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54D4A7-5011-4630-9EB7-6C55E0FFA41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3835" y="2194622"/>
            <a:ext cx="3339120" cy="377426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882A0B5E-7C14-4321-8796-E732465805A8}"/>
              </a:ext>
            </a:extLst>
          </p:cNvPr>
          <p:cNvSpPr txBox="1"/>
          <p:nvPr/>
        </p:nvSpPr>
        <p:spPr>
          <a:xfrm>
            <a:off x="7662145" y="8905683"/>
            <a:ext cx="3121367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marL="0" marR="0" lvl="0" indent="0" algn="l" defTabSz="10067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…Drive to Global Excellenc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CA1560C-FF08-49AF-9A87-A60AC2DCAF9C}"/>
              </a:ext>
            </a:extLst>
          </p:cNvPr>
          <p:cNvGrpSpPr/>
          <p:nvPr/>
        </p:nvGrpSpPr>
        <p:grpSpPr>
          <a:xfrm>
            <a:off x="7409495" y="4830779"/>
            <a:ext cx="3671667" cy="3930172"/>
            <a:chOff x="7409494" y="4830779"/>
            <a:chExt cx="3671666" cy="393017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3DF786CE-6ED9-4454-B6F9-2B30BB30919B}"/>
                </a:ext>
              </a:extLst>
            </p:cNvPr>
            <p:cNvGrpSpPr/>
            <p:nvPr/>
          </p:nvGrpSpPr>
          <p:grpSpPr>
            <a:xfrm>
              <a:off x="7409494" y="4830779"/>
              <a:ext cx="3671666" cy="3930172"/>
              <a:chOff x="5417897" y="2757096"/>
              <a:chExt cx="3922046" cy="3294637"/>
            </a:xfr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653AD2B5-392D-4748-985C-A6D9476590D6}"/>
                  </a:ext>
                </a:extLst>
              </p:cNvPr>
              <p:cNvSpPr/>
              <p:nvPr/>
            </p:nvSpPr>
            <p:spPr>
              <a:xfrm>
                <a:off x="5417897" y="4102312"/>
                <a:ext cx="3922046" cy="1949421"/>
              </a:xfrm>
              <a:prstGeom prst="rect">
                <a:avLst/>
              </a:prstGeom>
              <a:solidFill>
                <a:schemeClr val="accent4">
                  <a:lumMod val="7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090799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DABF880-FDD5-4529-A238-54995636409A}"/>
                  </a:ext>
                </a:extLst>
              </p:cNvPr>
              <p:cNvSpPr/>
              <p:nvPr/>
            </p:nvSpPr>
            <p:spPr>
              <a:xfrm>
                <a:off x="5417897" y="2757096"/>
                <a:ext cx="3922046" cy="1323110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090799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001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3" name="Rectangle 20">
              <a:extLst>
                <a:ext uri="{FF2B5EF4-FFF2-40B4-BE49-F238E27FC236}">
                  <a16:creationId xmlns:a16="http://schemas.microsoft.com/office/drawing/2014/main" id="{77C1210F-2D56-4DDE-A773-41B215E448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62144" y="6839378"/>
              <a:ext cx="3020158" cy="12618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ele K. Kyari</a:t>
              </a:r>
            </a:p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GMD NNPC</a:t>
              </a:r>
            </a:p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marL="0" marR="0" lvl="0" indent="0" algn="l" defTabSz="112398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en-US" sz="1200" b="1" dirty="0">
                  <a:solidFill>
                    <a:srgbClr val="000000"/>
                  </a:solidFill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ctober</a:t>
              </a:r>
              <a:r>
                <a:rPr kumimoji="0" lang="en-GB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27, 2021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F98E43B-08C1-40DD-BDD4-46CA18C451D9}"/>
              </a:ext>
            </a:extLst>
          </p:cNvPr>
          <p:cNvSpPr/>
          <p:nvPr/>
        </p:nvSpPr>
        <p:spPr>
          <a:xfrm>
            <a:off x="7570749" y="5457062"/>
            <a:ext cx="3345829" cy="57398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109079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BE767">
                    <a:lumMod val="75000"/>
                  </a:srgbClr>
                </a:solidFill>
                <a:effectLst/>
                <a:uLnTx/>
                <a:uFillTx/>
                <a:latin typeface="Arial"/>
                <a:ea typeface="ＭＳ Ｐゴシック" panose="020B0600070205080204" pitchFamily="34" charset="-128"/>
                <a:cs typeface="+mn-cs"/>
              </a:rPr>
              <a:t>GMD’s Brief to NEC</a:t>
            </a:r>
          </a:p>
        </p:txBody>
      </p:sp>
    </p:spTree>
    <p:extLst>
      <p:ext uri="{BB962C8B-B14F-4D97-AF65-F5344CB8AC3E}">
        <p14:creationId xmlns:p14="http://schemas.microsoft.com/office/powerpoint/2010/main" val="34080952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74">
            <a:extLst>
              <a:ext uri="{FF2B5EF4-FFF2-40B4-BE49-F238E27FC236}">
                <a16:creationId xmlns:a16="http://schemas.microsoft.com/office/drawing/2014/main" id="{40C3EADC-03AC-4433-8BED-2135A86ED71A}"/>
              </a:ext>
            </a:extLst>
          </p:cNvPr>
          <p:cNvSpPr txBox="1"/>
          <p:nvPr/>
        </p:nvSpPr>
        <p:spPr>
          <a:xfrm>
            <a:off x="779018" y="1738183"/>
            <a:ext cx="11641582" cy="17252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0" tIns="75495" rIns="0" bIns="0" rtlCol="0" anchor="ctr">
            <a:spAutoFit/>
          </a:bodyPr>
          <a:lstStyle/>
          <a:p>
            <a:pPr marL="196126" marR="0" lvl="0" indent="0" algn="l" defTabSz="128016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ic Uralic"/>
              <a:ea typeface="ＭＳ Ｐゴシック"/>
              <a:cs typeface="Gothic Uralic"/>
            </a:endParaRPr>
          </a:p>
        </p:txBody>
      </p:sp>
      <p:sp>
        <p:nvSpPr>
          <p:cNvPr id="28" name="object 74">
            <a:extLst>
              <a:ext uri="{FF2B5EF4-FFF2-40B4-BE49-F238E27FC236}">
                <a16:creationId xmlns:a16="http://schemas.microsoft.com/office/drawing/2014/main" id="{F9690535-86D1-422D-81F3-C6DC0BB3EA5C}"/>
              </a:ext>
            </a:extLst>
          </p:cNvPr>
          <p:cNvSpPr txBox="1"/>
          <p:nvPr/>
        </p:nvSpPr>
        <p:spPr>
          <a:xfrm>
            <a:off x="779018" y="7481379"/>
            <a:ext cx="11793982" cy="209113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0" tIns="75495" rIns="0" bIns="0" rtlCol="0" anchor="ctr">
            <a:spAutoFit/>
          </a:bodyPr>
          <a:lstStyle/>
          <a:p>
            <a:pPr marL="196126" marR="0" lvl="0" indent="0" algn="l" defTabSz="128016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ic Uralic"/>
              <a:ea typeface="ＭＳ Ｐゴシック"/>
              <a:cs typeface="Gothic Uralic"/>
            </a:endParaRP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8C5B3B4C-E8C6-4052-ADF7-D299BAB6461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0260655"/>
              </p:ext>
            </p:extLst>
          </p:nvPr>
        </p:nvGraphicFramePr>
        <p:xfrm>
          <a:off x="915242" y="2101149"/>
          <a:ext cx="11581558" cy="5408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24">
            <a:extLst>
              <a:ext uri="{FF2B5EF4-FFF2-40B4-BE49-F238E27FC236}">
                <a16:creationId xmlns:a16="http://schemas.microsoft.com/office/drawing/2014/main" id="{E466CB21-57E5-4F49-9AAF-708800DC9A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2479" y="7823096"/>
            <a:ext cx="11096641" cy="1631216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8956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3528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8100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2672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216535" marR="5080" lvl="0" indent="-2044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>
                <a:tab pos="216535" algn="l"/>
                <a:tab pos="217170" algn="l"/>
              </a:tabLst>
              <a:defRPr/>
            </a:pPr>
            <a:r>
              <a:rPr kumimoji="0" lang="en-NG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Oil price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came under pressure as OPEC unexpectedly trimmed its world oil demand growth forecast for 2021</a:t>
            </a:r>
          </a:p>
          <a:p>
            <a:pPr marL="216535" marR="5080" lvl="0" indent="-2044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>
                <a:tab pos="216535" algn="l"/>
                <a:tab pos="217170" algn="l"/>
              </a:tabLst>
              <a:defRPr/>
            </a:pPr>
            <a:r>
              <a:rPr lang="en-US" sz="1600" dirty="0">
                <a:solidFill>
                  <a:srgbClr val="000000"/>
                </a:solidFill>
                <a:latin typeface="Century Gothic" panose="020B0502020202020204" pitchFamily="34" charset="0"/>
              </a:rPr>
              <a:t>Also,  Chin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, the world’s biggest crude importer, releases data showing that import fell by 15%</a:t>
            </a:r>
          </a:p>
          <a:p>
            <a:pPr marL="216535" marR="5080" lvl="0" indent="-2044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Char char="•"/>
              <a:tabLst>
                <a:tab pos="216535" algn="l"/>
                <a:tab pos="21717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	</a:t>
            </a:r>
            <a:r>
              <a:rPr kumimoji="0" lang="en-NG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West African crude differentials remained under pressure due to competitive light sweet regional crudes and delivered U.S. crude. 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5723EF0-2F2B-48E3-9C2F-4FC0AE03BDC8}"/>
              </a:ext>
            </a:extLst>
          </p:cNvPr>
          <p:cNvSpPr txBox="1">
            <a:spLocks/>
          </p:cNvSpPr>
          <p:nvPr/>
        </p:nvSpPr>
        <p:spPr bwMode="auto">
          <a:xfrm>
            <a:off x="893728" y="1088841"/>
            <a:ext cx="10928416" cy="512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r>
              <a:rPr kumimoji="0" lang="en-US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2021-YTD </a:t>
            </a:r>
            <a:r>
              <a:rPr kumimoji="0" lang="en-GB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Crude Oil Prices Trend ($/</a:t>
            </a:r>
            <a:r>
              <a:rPr kumimoji="0" lang="en-GB" sz="2001" b="1" i="0" u="none" strike="noStrike" kern="0" cap="none" spc="0" normalizeH="0" baseline="0" noProof="0" dirty="0" err="1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bbl</a:t>
            </a:r>
            <a:r>
              <a:rPr kumimoji="0" lang="en-GB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) and Other Market Developments </a:t>
            </a:r>
          </a:p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endParaRPr kumimoji="0" lang="en-GB" sz="2001" b="1" i="0" u="none" strike="noStrike" kern="0" cap="none" spc="0" normalizeH="0" baseline="0" noProof="0" dirty="0">
              <a:ln>
                <a:noFill/>
              </a:ln>
              <a:solidFill>
                <a:srgbClr val="3D764D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27" name="Rectangle 24">
            <a:extLst>
              <a:ext uri="{FF2B5EF4-FFF2-40B4-BE49-F238E27FC236}">
                <a16:creationId xmlns:a16="http://schemas.microsoft.com/office/drawing/2014/main" id="{1F190AFC-2FFF-416C-83D7-14CAAD1B3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8356" y="5407349"/>
            <a:ext cx="3546203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marL="2857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8956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3528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8100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4267200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12065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National Budget benchmar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785381-2601-4288-89A7-DBDBD43AFA72}"/>
              </a:ext>
            </a:extLst>
          </p:cNvPr>
          <p:cNvSpPr txBox="1"/>
          <p:nvPr/>
        </p:nvSpPr>
        <p:spPr>
          <a:xfrm>
            <a:off x="11932944" y="1851590"/>
            <a:ext cx="62388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86</a:t>
            </a:r>
            <a:endParaRPr lang="en-NG" dirty="0"/>
          </a:p>
        </p:txBody>
      </p:sp>
    </p:spTree>
    <p:extLst>
      <p:ext uri="{BB962C8B-B14F-4D97-AF65-F5344CB8AC3E}">
        <p14:creationId xmlns:p14="http://schemas.microsoft.com/office/powerpoint/2010/main" val="3078361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3EB78F7-5AA9-42D9-9A6F-EF55134E726B}"/>
              </a:ext>
            </a:extLst>
          </p:cNvPr>
          <p:cNvSpPr/>
          <p:nvPr/>
        </p:nvSpPr>
        <p:spPr>
          <a:xfrm>
            <a:off x="10379676" y="2309887"/>
            <a:ext cx="2319727" cy="31440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9492A87-AEAE-487A-8F67-5017CBAB24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5799521"/>
              </p:ext>
            </p:extLst>
          </p:nvPr>
        </p:nvGraphicFramePr>
        <p:xfrm>
          <a:off x="349331" y="1912710"/>
          <a:ext cx="9893507" cy="7130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8" name="Picture 7" descr="A picture containing green, close, man, black&#10;&#10;Description automatically generated">
            <a:extLst>
              <a:ext uri="{FF2B5EF4-FFF2-40B4-BE49-F238E27FC236}">
                <a16:creationId xmlns:a16="http://schemas.microsoft.com/office/drawing/2014/main" id="{332FBA2E-B1E8-48C8-AA64-FE2DE7B04E2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2676" y="442703"/>
            <a:ext cx="1321318" cy="109118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94822" y="371382"/>
          <a:ext cx="2092" cy="20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94822" y="371382"/>
                        <a:ext cx="2092" cy="20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492718" y="369278"/>
            <a:ext cx="209320" cy="2093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056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object 74">
            <a:extLst>
              <a:ext uri="{FF2B5EF4-FFF2-40B4-BE49-F238E27FC236}">
                <a16:creationId xmlns:a16="http://schemas.microsoft.com/office/drawing/2014/main" id="{5E6CD9F9-B695-47E4-870C-71A8442D238C}"/>
              </a:ext>
            </a:extLst>
          </p:cNvPr>
          <p:cNvSpPr txBox="1"/>
          <p:nvPr/>
        </p:nvSpPr>
        <p:spPr>
          <a:xfrm>
            <a:off x="179994" y="1632292"/>
            <a:ext cx="12384000" cy="18201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0" tIns="75495" rIns="0" bIns="0" rtlCol="0" anchor="ctr">
            <a:spAutoFit/>
          </a:bodyPr>
          <a:lstStyle/>
          <a:p>
            <a:pPr marL="196126" marR="0" lvl="0" indent="0" algn="l" defTabSz="128016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ic Uralic"/>
              <a:ea typeface="+mn-ea"/>
              <a:cs typeface="Gothic Uralic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024E119-A38B-4D39-8BA4-4B106828AABF}"/>
              </a:ext>
            </a:extLst>
          </p:cNvPr>
          <p:cNvSpPr txBox="1">
            <a:spLocks/>
          </p:cNvSpPr>
          <p:nvPr/>
        </p:nvSpPr>
        <p:spPr bwMode="auto">
          <a:xfrm>
            <a:off x="471487" y="1120256"/>
            <a:ext cx="7989280" cy="512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r>
              <a:rPr kumimoji="0" lang="en-US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Nov 2020 - 2021YTD </a:t>
            </a:r>
            <a:r>
              <a:rPr kumimoji="0" lang="en-GB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PMS Price Movement</a:t>
            </a:r>
          </a:p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endParaRPr kumimoji="0" lang="en-GB" sz="2001" b="1" i="0" u="none" strike="noStrike" kern="0" cap="none" spc="0" normalizeH="0" baseline="0" noProof="0" dirty="0">
              <a:ln>
                <a:noFill/>
              </a:ln>
              <a:solidFill>
                <a:srgbClr val="3D764D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37F7F9-0559-4146-B7FC-A72347B2ED64}"/>
              </a:ext>
            </a:extLst>
          </p:cNvPr>
          <p:cNvSpPr/>
          <p:nvPr/>
        </p:nvSpPr>
        <p:spPr>
          <a:xfrm>
            <a:off x="10345036" y="2457449"/>
            <a:ext cx="2456564" cy="2996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At US$85 crude oil, 60m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daily consumption and N411/1$ FX, PMS under recovery p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will be N140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</a:endParaRP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Daily PMS under recovery will be N8.4bill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4CB4B3-7858-44FE-84D9-4E1960B91FDB}"/>
              </a:ext>
            </a:extLst>
          </p:cNvPr>
          <p:cNvSpPr txBox="1"/>
          <p:nvPr/>
        </p:nvSpPr>
        <p:spPr>
          <a:xfrm>
            <a:off x="435057" y="551940"/>
            <a:ext cx="64008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Gasoline Prices Trend </a:t>
            </a:r>
            <a:endParaRPr lang="en-GB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519B65-36E5-4028-8FA6-D3BF6FE0FED4}"/>
              </a:ext>
            </a:extLst>
          </p:cNvPr>
          <p:cNvSpPr/>
          <p:nvPr/>
        </p:nvSpPr>
        <p:spPr>
          <a:xfrm>
            <a:off x="10412100" y="5733327"/>
            <a:ext cx="2319727" cy="1394298"/>
          </a:xfrm>
          <a:prstGeom prst="rect">
            <a:avLst/>
          </a:prstGeom>
          <a:solidFill>
            <a:srgbClr val="D2E1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222DB2-FF49-4657-800A-D0B1AC27686E}"/>
              </a:ext>
            </a:extLst>
          </p:cNvPr>
          <p:cNvSpPr/>
          <p:nvPr/>
        </p:nvSpPr>
        <p:spPr>
          <a:xfrm>
            <a:off x="10444524" y="6999615"/>
            <a:ext cx="2456564" cy="17333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endParaRPr lang="en-US" sz="1800" b="1" dirty="0">
              <a:solidFill>
                <a:srgbClr val="0000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Annual PMS under recovery range between N3.07-N3.46 Trill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9D30BA4-DAB5-495B-9A20-B9906CAA0F39}"/>
              </a:ext>
            </a:extLst>
          </p:cNvPr>
          <p:cNvSpPr/>
          <p:nvPr/>
        </p:nvSpPr>
        <p:spPr>
          <a:xfrm>
            <a:off x="10343681" y="5793455"/>
            <a:ext cx="2456564" cy="17333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Using I&amp;E FX rate unit under recovery will be N158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and N9.5billion daily</a:t>
            </a: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endParaRPr lang="en-US" sz="1800" dirty="0">
              <a:solidFill>
                <a:srgbClr val="0000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01450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3EB78F7-5AA9-42D9-9A6F-EF55134E726B}"/>
              </a:ext>
            </a:extLst>
          </p:cNvPr>
          <p:cNvSpPr/>
          <p:nvPr/>
        </p:nvSpPr>
        <p:spPr>
          <a:xfrm>
            <a:off x="10379676" y="2284185"/>
            <a:ext cx="2319727" cy="731701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9492A87-AEAE-487A-8F67-5017CBAB24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8493182"/>
              </p:ext>
            </p:extLst>
          </p:nvPr>
        </p:nvGraphicFramePr>
        <p:xfrm>
          <a:off x="349331" y="1912710"/>
          <a:ext cx="9893507" cy="7130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8" name="Picture 7" descr="A picture containing green, close, man, black&#10;&#10;Description automatically generated">
            <a:extLst>
              <a:ext uri="{FF2B5EF4-FFF2-40B4-BE49-F238E27FC236}">
                <a16:creationId xmlns:a16="http://schemas.microsoft.com/office/drawing/2014/main" id="{332FBA2E-B1E8-48C8-AA64-FE2DE7B04E2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42676" y="442703"/>
            <a:ext cx="1321318" cy="109118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94822" y="371382"/>
          <a:ext cx="2092" cy="20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94822" y="371382"/>
                        <a:ext cx="2092" cy="20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492718" y="369278"/>
            <a:ext cx="209320" cy="2093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0566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object 74">
            <a:extLst>
              <a:ext uri="{FF2B5EF4-FFF2-40B4-BE49-F238E27FC236}">
                <a16:creationId xmlns:a16="http://schemas.microsoft.com/office/drawing/2014/main" id="{5E6CD9F9-B695-47E4-870C-71A8442D238C}"/>
              </a:ext>
            </a:extLst>
          </p:cNvPr>
          <p:cNvSpPr txBox="1"/>
          <p:nvPr/>
        </p:nvSpPr>
        <p:spPr>
          <a:xfrm>
            <a:off x="179994" y="1632292"/>
            <a:ext cx="12384000" cy="18201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wrap="square" lIns="0" tIns="75495" rIns="0" bIns="0" rtlCol="0" anchor="ctr">
            <a:spAutoFit/>
          </a:bodyPr>
          <a:lstStyle/>
          <a:p>
            <a:pPr marL="196126" marR="0" lvl="0" indent="0" algn="l" defTabSz="1280160" rtl="0" eaLnBrk="1" fontAlgn="auto" latinLnBrk="0" hangingPunct="1">
              <a:lnSpc>
                <a:spcPct val="100000"/>
              </a:lnSpc>
              <a:spcBef>
                <a:spcPts val="5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ic Uralic"/>
              <a:ea typeface="+mn-ea"/>
              <a:cs typeface="Gothic Uralic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024E119-A38B-4D39-8BA4-4B106828AABF}"/>
              </a:ext>
            </a:extLst>
          </p:cNvPr>
          <p:cNvSpPr txBox="1">
            <a:spLocks/>
          </p:cNvSpPr>
          <p:nvPr/>
        </p:nvSpPr>
        <p:spPr bwMode="auto">
          <a:xfrm>
            <a:off x="471487" y="1120256"/>
            <a:ext cx="7989280" cy="512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lvl="1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 panose="020B0604020202020204" pitchFamily="34" charset="0"/>
              <a:buNone/>
              <a:defRPr sz="1477">
                <a:solidFill>
                  <a:srgbClr val="000000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54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r>
              <a:rPr kumimoji="0" lang="en-US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Nov 2020 - 2021YTD </a:t>
            </a:r>
            <a:r>
              <a:rPr kumimoji="0" lang="en-GB" sz="2001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PMS Price Movement</a:t>
            </a:r>
          </a:p>
          <a:p>
            <a:pPr marL="0" marR="0" lvl="0" indent="0" algn="l" defTabSz="914418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ts val="0"/>
              </a:spcAft>
              <a:buClr>
                <a:srgbClr val="77B58C"/>
              </a:buClr>
              <a:buSzPts val="1400"/>
              <a:buFont typeface="Arial" panose="020B0604020202020204" pitchFamily="34" charset="0"/>
              <a:buNone/>
              <a:tabLst/>
              <a:defRPr/>
            </a:pPr>
            <a:endParaRPr kumimoji="0" lang="en-GB" sz="2001" b="1" i="0" u="none" strike="noStrike" kern="0" cap="none" spc="0" normalizeH="0" baseline="0" noProof="0" dirty="0">
              <a:ln>
                <a:noFill/>
              </a:ln>
              <a:solidFill>
                <a:srgbClr val="3D764D"/>
              </a:solidFill>
              <a:effectLst/>
              <a:uLnTx/>
              <a:uFillTx/>
              <a:latin typeface="Century Gothic" panose="020B0502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37F7F9-0559-4146-B7FC-A72347B2ED64}"/>
              </a:ext>
            </a:extLst>
          </p:cNvPr>
          <p:cNvSpPr/>
          <p:nvPr/>
        </p:nvSpPr>
        <p:spPr>
          <a:xfrm>
            <a:off x="10379676" y="4024776"/>
            <a:ext cx="2456564" cy="4755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At US$85 crude oil, 60m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daily consumption and N570/1$ FX, PMS under recovery p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 will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be N232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litr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MS PGothic" panose="020B0600070205080204" pitchFamily="34" charset="-128"/>
              <a:cs typeface="+mn-cs"/>
            </a:endParaRP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Daily PMS under recovery will be N14billion</a:t>
            </a: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endParaRPr lang="en-US" sz="1800" dirty="0">
              <a:solidFill>
                <a:srgbClr val="0000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marL="12065" marR="5080" lvl="0" indent="0" defTabSz="914400" rtl="0" eaLnBrk="1" fontAlgn="auto" latinLnBrk="0" hangingPunct="1">
              <a:lnSpc>
                <a:spcPct val="114000"/>
              </a:lnSpc>
              <a:spcBef>
                <a:spcPts val="95"/>
              </a:spcBef>
              <a:spcAft>
                <a:spcPts val="600"/>
              </a:spcAft>
              <a:buClrTx/>
              <a:buSzTx/>
              <a:buFontTx/>
              <a:buNone/>
              <a:tabLst>
                <a:tab pos="216535" algn="l"/>
                <a:tab pos="217170" algn="l"/>
              </a:tabLst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MS PGothic" panose="020B0600070205080204" pitchFamily="34" charset="-128"/>
                <a:cs typeface="+mn-cs"/>
              </a:rPr>
              <a:t>Annual PMS under recovery will escalate to N5 Trill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4CB4B3-7858-44FE-84D9-4E1960B91FDB}"/>
              </a:ext>
            </a:extLst>
          </p:cNvPr>
          <p:cNvSpPr txBox="1"/>
          <p:nvPr/>
        </p:nvSpPr>
        <p:spPr>
          <a:xfrm>
            <a:off x="435057" y="551940"/>
            <a:ext cx="64008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3200" b="1" i="0" u="none" strike="noStrike" kern="0" cap="none" spc="0" normalizeH="0" baseline="0" noProof="0" dirty="0">
                <a:ln>
                  <a:noFill/>
                </a:ln>
                <a:solidFill>
                  <a:srgbClr val="3D764D"/>
                </a:solidFill>
                <a:effectLst/>
                <a:uLnTx/>
                <a:uFillTx/>
                <a:latin typeface="Century Gothic" panose="020B0502020202020204" pitchFamily="34" charset="0"/>
                <a:cs typeface="Arial"/>
                <a:sym typeface="Arial" panose="020B0604020202020204" pitchFamily="34" charset="0"/>
              </a:rPr>
              <a:t>Gasoline Prices Trend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2608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154E4B0-FD72-4EF3-B5E5-2C24B9DC48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60" t="1847" r="2895" b="1710"/>
          <a:stretch/>
        </p:blipFill>
        <p:spPr>
          <a:xfrm>
            <a:off x="855964" y="2100031"/>
            <a:ext cx="9719519" cy="5499847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000108E3-03A4-45B2-8B9F-A5F01D4FEAED}"/>
              </a:ext>
            </a:extLst>
          </p:cNvPr>
          <p:cNvSpPr/>
          <p:nvPr/>
        </p:nvSpPr>
        <p:spPr>
          <a:xfrm>
            <a:off x="6217183" y="3808620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F2DC08A-BA2C-4004-AA7A-D8AC6B4D2A66}"/>
              </a:ext>
            </a:extLst>
          </p:cNvPr>
          <p:cNvSpPr/>
          <p:nvPr/>
        </p:nvSpPr>
        <p:spPr>
          <a:xfrm>
            <a:off x="6115439" y="4219993"/>
            <a:ext cx="982783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93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B8638F9-D8DA-4DCE-8DDB-20C31DFAE1B8}"/>
              </a:ext>
            </a:extLst>
          </p:cNvPr>
          <p:cNvSpPr/>
          <p:nvPr/>
        </p:nvSpPr>
        <p:spPr>
          <a:xfrm>
            <a:off x="5740293" y="5471451"/>
            <a:ext cx="844060" cy="844060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DEB8D7F-9CA9-4D01-97EC-0B3579D84383}"/>
              </a:ext>
            </a:extLst>
          </p:cNvPr>
          <p:cNvSpPr/>
          <p:nvPr/>
        </p:nvSpPr>
        <p:spPr>
          <a:xfrm>
            <a:off x="5597049" y="5788746"/>
            <a:ext cx="1133417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215" b="1" dirty="0">
                <a:solidFill>
                  <a:srgbClr val="FFFFFF"/>
                </a:solidFill>
                <a:latin typeface="Arial"/>
                <a:ea typeface="ＭＳ Ｐゴシック"/>
              </a:rPr>
              <a:t>16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AA99C57-8649-4969-BD63-01958E0A3513}"/>
              </a:ext>
            </a:extLst>
          </p:cNvPr>
          <p:cNvSpPr/>
          <p:nvPr/>
        </p:nvSpPr>
        <p:spPr>
          <a:xfrm>
            <a:off x="7629791" y="4748191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F64ACFF-DF46-43C3-BF97-1D9E71C1F022}"/>
              </a:ext>
            </a:extLst>
          </p:cNvPr>
          <p:cNvSpPr/>
          <p:nvPr/>
        </p:nvSpPr>
        <p:spPr>
          <a:xfrm>
            <a:off x="7605104" y="4967166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75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2D02C9B-B219-4DF9-A43E-207902BB266E}"/>
              </a:ext>
            </a:extLst>
          </p:cNvPr>
          <p:cNvSpPr/>
          <p:nvPr/>
        </p:nvSpPr>
        <p:spPr>
          <a:xfrm>
            <a:off x="8413563" y="5851961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0557AC4-EC3A-43E5-BF10-4ABCB81CF874}"/>
              </a:ext>
            </a:extLst>
          </p:cNvPr>
          <p:cNvSpPr/>
          <p:nvPr/>
        </p:nvSpPr>
        <p:spPr>
          <a:xfrm>
            <a:off x="8364186" y="6070939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870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BAD81EA7-1485-43F2-A250-486AAF8A67D6}"/>
              </a:ext>
            </a:extLst>
          </p:cNvPr>
          <p:cNvSpPr/>
          <p:nvPr/>
        </p:nvSpPr>
        <p:spPr>
          <a:xfrm>
            <a:off x="6589093" y="6865307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61C6C11-AF30-41F2-ADBB-FA9CF7C5326A}"/>
              </a:ext>
            </a:extLst>
          </p:cNvPr>
          <p:cNvSpPr/>
          <p:nvPr/>
        </p:nvSpPr>
        <p:spPr>
          <a:xfrm>
            <a:off x="6575743" y="7084282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57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3B1DA94-7EC9-4C4F-8387-5E3546DF4F39}"/>
              </a:ext>
            </a:extLst>
          </p:cNvPr>
          <p:cNvSpPr/>
          <p:nvPr/>
        </p:nvSpPr>
        <p:spPr>
          <a:xfrm>
            <a:off x="4244260" y="3720482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2E96CCF-3FB4-4B4D-9B0E-8C37ED448650}"/>
              </a:ext>
            </a:extLst>
          </p:cNvPr>
          <p:cNvSpPr/>
          <p:nvPr/>
        </p:nvSpPr>
        <p:spPr>
          <a:xfrm>
            <a:off x="4219571" y="3939458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86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8FEB7DD-328C-418F-B6EB-EBF50BB56346}"/>
              </a:ext>
            </a:extLst>
          </p:cNvPr>
          <p:cNvSpPr/>
          <p:nvPr/>
        </p:nvSpPr>
        <p:spPr>
          <a:xfrm>
            <a:off x="1359928" y="4263155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FB0D027C-8509-4521-9387-E73C71C739BC}"/>
              </a:ext>
            </a:extLst>
          </p:cNvPr>
          <p:cNvSpPr/>
          <p:nvPr/>
        </p:nvSpPr>
        <p:spPr>
          <a:xfrm>
            <a:off x="1359928" y="4426024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56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0AF36EDD-5335-4514-B94F-EF74147DD344}"/>
              </a:ext>
            </a:extLst>
          </p:cNvPr>
          <p:cNvSpPr/>
          <p:nvPr/>
        </p:nvSpPr>
        <p:spPr>
          <a:xfrm>
            <a:off x="2467910" y="5060151"/>
            <a:ext cx="767328" cy="767328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A5A048F-4EDB-40B1-AF6D-CF59BAC277FF}"/>
              </a:ext>
            </a:extLst>
          </p:cNvPr>
          <p:cNvSpPr/>
          <p:nvPr/>
        </p:nvSpPr>
        <p:spPr>
          <a:xfrm>
            <a:off x="2404856" y="5240761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2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CECC7F3A-99A5-4748-A3D2-4FA6C9386D64}"/>
              </a:ext>
            </a:extLst>
          </p:cNvPr>
          <p:cNvSpPr/>
          <p:nvPr/>
        </p:nvSpPr>
        <p:spPr>
          <a:xfrm>
            <a:off x="3218228" y="5690429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92D09B6D-D350-44F7-8FA0-53B8ABAEFF5D}"/>
              </a:ext>
            </a:extLst>
          </p:cNvPr>
          <p:cNvSpPr/>
          <p:nvPr/>
        </p:nvSpPr>
        <p:spPr>
          <a:xfrm>
            <a:off x="3193539" y="5909405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46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4057C85-9963-4C61-B3A4-E20032A0D304}"/>
              </a:ext>
            </a:extLst>
          </p:cNvPr>
          <p:cNvSpPr/>
          <p:nvPr/>
        </p:nvSpPr>
        <p:spPr>
          <a:xfrm>
            <a:off x="3964161" y="4686111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35ABC51-B74B-4CB0-A127-AB3D7AEC87A6}"/>
              </a:ext>
            </a:extLst>
          </p:cNvPr>
          <p:cNvSpPr/>
          <p:nvPr/>
        </p:nvSpPr>
        <p:spPr>
          <a:xfrm>
            <a:off x="3939472" y="4905086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46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1CFB77F-CB6B-4B1A-8B6D-E99FBF74D504}"/>
              </a:ext>
            </a:extLst>
          </p:cNvPr>
          <p:cNvSpPr/>
          <p:nvPr/>
        </p:nvSpPr>
        <p:spPr>
          <a:xfrm>
            <a:off x="3905050" y="6741429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A5706BF-E041-49CA-9BF2-24BA8EC51BD3}"/>
              </a:ext>
            </a:extLst>
          </p:cNvPr>
          <p:cNvSpPr/>
          <p:nvPr/>
        </p:nvSpPr>
        <p:spPr>
          <a:xfrm>
            <a:off x="3793165" y="6928884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450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7C67175-74B9-4D26-9D84-B322D5F28E9A}"/>
              </a:ext>
            </a:extLst>
          </p:cNvPr>
          <p:cNvSpPr/>
          <p:nvPr/>
        </p:nvSpPr>
        <p:spPr>
          <a:xfrm>
            <a:off x="5247072" y="6316464"/>
            <a:ext cx="844060" cy="844060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32EC04F7-C0F9-4854-B570-232906388CAD}"/>
              </a:ext>
            </a:extLst>
          </p:cNvPr>
          <p:cNvSpPr/>
          <p:nvPr/>
        </p:nvSpPr>
        <p:spPr>
          <a:xfrm>
            <a:off x="5233122" y="6554966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77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89D6C19-1BCC-45F6-8E67-A9424A966FBD}"/>
              </a:ext>
            </a:extLst>
          </p:cNvPr>
          <p:cNvCxnSpPr>
            <a:cxnSpLocks/>
          </p:cNvCxnSpPr>
          <p:nvPr/>
        </p:nvCxnSpPr>
        <p:spPr>
          <a:xfrm>
            <a:off x="5096496" y="5762291"/>
            <a:ext cx="230139" cy="70350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3FE2350-4D03-4826-BCFD-1DCE53884399}"/>
              </a:ext>
            </a:extLst>
          </p:cNvPr>
          <p:cNvCxnSpPr>
            <a:cxnSpLocks/>
          </p:cNvCxnSpPr>
          <p:nvPr/>
        </p:nvCxnSpPr>
        <p:spPr>
          <a:xfrm flipH="1">
            <a:off x="4360739" y="6301004"/>
            <a:ext cx="13684" cy="44042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2">
            <a:extLst>
              <a:ext uri="{FF2B5EF4-FFF2-40B4-BE49-F238E27FC236}">
                <a16:creationId xmlns:a16="http://schemas.microsoft.com/office/drawing/2014/main" id="{4974A259-8206-40E2-B162-3B39867F6254}"/>
              </a:ext>
            </a:extLst>
          </p:cNvPr>
          <p:cNvSpPr/>
          <p:nvPr/>
        </p:nvSpPr>
        <p:spPr>
          <a:xfrm>
            <a:off x="4607480" y="6368536"/>
            <a:ext cx="524095" cy="524095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84584859-3D94-4376-896D-D912676305E0}"/>
              </a:ext>
            </a:extLst>
          </p:cNvPr>
          <p:cNvSpPr/>
          <p:nvPr/>
        </p:nvSpPr>
        <p:spPr>
          <a:xfrm>
            <a:off x="4460756" y="6428261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66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118558CF-77A7-49AA-B12E-39895320916D}"/>
              </a:ext>
            </a:extLst>
          </p:cNvPr>
          <p:cNvSpPr/>
          <p:nvPr/>
        </p:nvSpPr>
        <p:spPr>
          <a:xfrm>
            <a:off x="1712798" y="5919923"/>
            <a:ext cx="634156" cy="634156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05E9432-9D13-4F67-BF7D-1B792D5DC046}"/>
              </a:ext>
            </a:extLst>
          </p:cNvPr>
          <p:cNvSpPr/>
          <p:nvPr/>
        </p:nvSpPr>
        <p:spPr>
          <a:xfrm>
            <a:off x="1583158" y="6033947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88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31AEDA5-EBF8-43F4-B8A3-A4FFD7409302}"/>
              </a:ext>
            </a:extLst>
          </p:cNvPr>
          <p:cNvSpPr/>
          <p:nvPr/>
        </p:nvSpPr>
        <p:spPr>
          <a:xfrm>
            <a:off x="1076720" y="7982064"/>
            <a:ext cx="10460024" cy="82886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2945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739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63" name="TextBox 3">
            <a:extLst>
              <a:ext uri="{FF2B5EF4-FFF2-40B4-BE49-F238E27FC236}">
                <a16:creationId xmlns:a16="http://schemas.microsoft.com/office/drawing/2014/main" id="{6175DE89-A246-4656-9DEB-64C992F54B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58200" y="8163861"/>
            <a:ext cx="2685351" cy="27590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9pPr>
          </a:lstStyle>
          <a:p>
            <a:pPr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193" dirty="0">
                <a:solidFill>
                  <a:srgbClr val="000000"/>
                </a:solidFill>
                <a:ea typeface="ＭＳ Ｐゴシック"/>
              </a:rPr>
              <a:t>Referenced FX Rate: </a:t>
            </a:r>
            <a:r>
              <a:rPr lang="en-GB" altLang="en-US" sz="1193" b="1" strike="sngStrike" dirty="0">
                <a:solidFill>
                  <a:srgbClr val="000000"/>
                </a:solidFill>
                <a:ea typeface="ＭＳ Ｐゴシック"/>
              </a:rPr>
              <a:t>N</a:t>
            </a:r>
            <a:r>
              <a:rPr lang="en-GB" altLang="en-US" sz="1193" b="1" dirty="0">
                <a:solidFill>
                  <a:srgbClr val="000000"/>
                </a:solidFill>
                <a:ea typeface="ＭＳ Ｐゴシック"/>
              </a:rPr>
              <a:t>411.23/USD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1D9F66EA-32CE-4EE6-AEB3-344C48B5F157}"/>
              </a:ext>
            </a:extLst>
          </p:cNvPr>
          <p:cNvSpPr/>
          <p:nvPr/>
        </p:nvSpPr>
        <p:spPr>
          <a:xfrm>
            <a:off x="5601401" y="5484347"/>
            <a:ext cx="1139068" cy="479167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215" u="sng" dirty="0">
                <a:solidFill>
                  <a:srgbClr val="FFFF00"/>
                </a:solidFill>
                <a:latin typeface="Century Gothic" panose="020B0502020202020204" pitchFamily="34" charset="0"/>
                <a:ea typeface="ＭＳ Ｐゴシック"/>
              </a:rPr>
              <a:t>302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99CF9E90-5BA9-43F7-838F-9628C8077C61}"/>
              </a:ext>
            </a:extLst>
          </p:cNvPr>
          <p:cNvSpPr/>
          <p:nvPr/>
        </p:nvSpPr>
        <p:spPr>
          <a:xfrm>
            <a:off x="2455540" y="6554079"/>
            <a:ext cx="634156" cy="634156"/>
          </a:xfrm>
          <a:prstGeom prst="ellipse">
            <a:avLst/>
          </a:prstGeom>
          <a:solidFill>
            <a:srgbClr val="C7D822">
              <a:alpha val="40000"/>
            </a:srgb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20593">
              <a:defRPr/>
            </a:pPr>
            <a:endParaRPr lang="en-GB" sz="205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DCCD1E4A-08BA-4156-A235-9B5AB469D5A3}"/>
              </a:ext>
            </a:extLst>
          </p:cNvPr>
          <p:cNvSpPr/>
          <p:nvPr/>
        </p:nvSpPr>
        <p:spPr>
          <a:xfrm>
            <a:off x="2325899" y="6668103"/>
            <a:ext cx="893438" cy="406109"/>
          </a:xfrm>
          <a:prstGeom prst="ellipse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763" b="1" dirty="0">
                <a:solidFill>
                  <a:srgbClr val="000000"/>
                </a:solidFill>
                <a:latin typeface="Arial"/>
                <a:ea typeface="ＭＳ Ｐゴシック"/>
              </a:rPr>
              <a:t>318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CE9400E3-43B0-402D-ACA8-82318E22574E}"/>
              </a:ext>
            </a:extLst>
          </p:cNvPr>
          <p:cNvSpPr/>
          <p:nvPr/>
        </p:nvSpPr>
        <p:spPr>
          <a:xfrm>
            <a:off x="855965" y="2054666"/>
            <a:ext cx="11079650" cy="119209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0690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884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52C82387-415F-42DE-B1D8-42CADE3ADA33}"/>
              </a:ext>
            </a:extLst>
          </p:cNvPr>
          <p:cNvSpPr/>
          <p:nvPr/>
        </p:nvSpPr>
        <p:spPr>
          <a:xfrm>
            <a:off x="826008" y="1437341"/>
            <a:ext cx="9966190" cy="45948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90009">
              <a:defRPr/>
            </a:pPr>
            <a:r>
              <a:rPr lang="en-GB" sz="2386" b="1" dirty="0">
                <a:solidFill>
                  <a:srgbClr val="3D6E4D">
                    <a:lumMod val="75000"/>
                  </a:srgbClr>
                </a:solidFill>
                <a:latin typeface="Century Gothic" panose="020B0502020202020204" pitchFamily="34" charset="0"/>
                <a:ea typeface="Arial"/>
                <a:cs typeface="Arial"/>
              </a:rPr>
              <a:t>Gasoline Price Across Some West Africa Countries </a:t>
            </a:r>
            <a:r>
              <a:rPr lang="en-GB" sz="2386" dirty="0">
                <a:solidFill>
                  <a:srgbClr val="3D6E4D">
                    <a:lumMod val="75000"/>
                  </a:srgbClr>
                </a:solidFill>
                <a:latin typeface="Century Gothic" panose="020B0502020202020204" pitchFamily="34" charset="0"/>
                <a:ea typeface="Arial"/>
                <a:cs typeface="Arial"/>
              </a:rPr>
              <a:t>(Naira Per Litre) </a:t>
            </a:r>
            <a:endParaRPr lang="en-GB" sz="2147" dirty="0">
              <a:solidFill>
                <a:srgbClr val="3D6E4D">
                  <a:lumMod val="75000"/>
                </a:srgbClr>
              </a:solidFill>
              <a:latin typeface="Century Gothic" panose="020B0502020202020204" pitchFamily="34" charset="0"/>
              <a:ea typeface="ＭＳ Ｐゴシック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2F9B714-CC7E-479B-9CE9-D3E38A96403A}"/>
              </a:ext>
            </a:extLst>
          </p:cNvPr>
          <p:cNvSpPr/>
          <p:nvPr/>
        </p:nvSpPr>
        <p:spPr>
          <a:xfrm>
            <a:off x="751833" y="8129435"/>
            <a:ext cx="3119765" cy="2576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1090009">
              <a:defRPr/>
            </a:pPr>
            <a:r>
              <a:rPr lang="en-GB" sz="1074" dirty="0">
                <a:solidFill>
                  <a:srgbClr val="000000"/>
                </a:solidFill>
                <a:latin typeface="Arial"/>
                <a:ea typeface="ＭＳ Ｐゴシック"/>
                <a:hlinkClick r:id="rId4"/>
              </a:rPr>
              <a:t>www.globalpetrolprices.com</a:t>
            </a:r>
            <a:r>
              <a:rPr lang="en-GB" sz="1074" dirty="0">
                <a:solidFill>
                  <a:srgbClr val="000000"/>
                </a:solidFill>
                <a:latin typeface="Arial"/>
                <a:ea typeface="ＭＳ Ｐゴシック"/>
              </a:rPr>
              <a:t> as at October 2021</a:t>
            </a:r>
            <a:endParaRPr lang="en-GB" sz="1074" b="1" dirty="0">
              <a:solidFill>
                <a:srgbClr val="FF0000"/>
              </a:solidFill>
              <a:latin typeface="Arial"/>
              <a:ea typeface="ＭＳ Ｐゴシック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56AA730B-7DEF-4007-BD24-D3C41BB7389C}"/>
              </a:ext>
            </a:extLst>
          </p:cNvPr>
          <p:cNvCxnSpPr>
            <a:cxnSpLocks/>
          </p:cNvCxnSpPr>
          <p:nvPr/>
        </p:nvCxnSpPr>
        <p:spPr>
          <a:xfrm>
            <a:off x="4940475" y="6895703"/>
            <a:ext cx="180573" cy="37054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FCEA48D7-9D51-4968-9734-0F0B7C6DF322}"/>
              </a:ext>
            </a:extLst>
          </p:cNvPr>
          <p:cNvSpPr/>
          <p:nvPr/>
        </p:nvSpPr>
        <p:spPr>
          <a:xfrm>
            <a:off x="4860997" y="6946909"/>
            <a:ext cx="844062" cy="844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702"/>
            <a:r>
              <a:rPr lang="en-US" sz="1292" b="1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Togo</a:t>
            </a:r>
            <a:endParaRPr lang="en-NG" sz="1847" b="1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53172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6274AE3-9745-4FF5-BC95-D74A08ADFC9C}"/>
              </a:ext>
            </a:extLst>
          </p:cNvPr>
          <p:cNvSpPr/>
          <p:nvPr/>
        </p:nvSpPr>
        <p:spPr>
          <a:xfrm>
            <a:off x="16454" y="369277"/>
            <a:ext cx="1820868" cy="8862646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679">
              <a:defRPr/>
            </a:pPr>
            <a:endParaRPr lang="en-GB" sz="2326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CE30814-DF13-4230-AD43-74ED37D9E324}"/>
              </a:ext>
            </a:extLst>
          </p:cNvPr>
          <p:cNvSpPr/>
          <p:nvPr/>
        </p:nvSpPr>
        <p:spPr>
          <a:xfrm>
            <a:off x="1837322" y="2152567"/>
            <a:ext cx="10960956" cy="988366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679">
              <a:defRPr/>
            </a:pPr>
            <a:endParaRPr lang="en-GB" sz="2326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3121BE5-2012-4D57-B463-341BD8040023}"/>
              </a:ext>
            </a:extLst>
          </p:cNvPr>
          <p:cNvSpPr txBox="1"/>
          <p:nvPr/>
        </p:nvSpPr>
        <p:spPr>
          <a:xfrm>
            <a:off x="1904151" y="1507063"/>
            <a:ext cx="8257775" cy="490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altLang="en-US" sz="2585" b="1" dirty="0">
                <a:solidFill>
                  <a:srgbClr val="B7DBC9">
                    <a:lumMod val="50000"/>
                  </a:srgbClr>
                </a:solidFill>
                <a:latin typeface="Century Gothic" panose="020B0502020202020204" pitchFamily="34" charset="0"/>
                <a:ea typeface="ＭＳ Ｐゴシック"/>
                <a:cs typeface="Microsoft New Tai Lue" panose="020B0502040204020203" pitchFamily="34" charset="0"/>
              </a:rPr>
              <a:t>What Deregulation Can Deliver to </a:t>
            </a:r>
            <a:r>
              <a:rPr lang="en-GB" altLang="en-US" sz="2585" b="1" dirty="0" err="1">
                <a:solidFill>
                  <a:srgbClr val="B7DBC9">
                    <a:lumMod val="50000"/>
                  </a:srgbClr>
                </a:solidFill>
                <a:latin typeface="Century Gothic" panose="020B0502020202020204" pitchFamily="34" charset="0"/>
                <a:ea typeface="ＭＳ Ｐゴシック"/>
                <a:cs typeface="Microsoft New Tai Lue" panose="020B0502040204020203" pitchFamily="34" charset="0"/>
              </a:rPr>
              <a:t>NIgerians</a:t>
            </a:r>
            <a:r>
              <a:rPr lang="en-GB" altLang="en-US" sz="2585" b="1" dirty="0">
                <a:solidFill>
                  <a:srgbClr val="B7DBC9">
                    <a:lumMod val="50000"/>
                  </a:srgbClr>
                </a:solidFill>
                <a:latin typeface="Century Gothic" panose="020B0502020202020204" pitchFamily="34" charset="0"/>
                <a:ea typeface="ＭＳ Ｐゴシック"/>
                <a:cs typeface="Microsoft New Tai Lue" panose="020B0502040204020203" pitchFamily="34" charset="0"/>
              </a:rPr>
              <a:t> </a:t>
            </a:r>
            <a:endParaRPr lang="en-GB" sz="2585" dirty="0">
              <a:solidFill>
                <a:srgbClr val="B7DBC9">
                  <a:lumMod val="50000"/>
                </a:srgbClr>
              </a:solidFill>
              <a:latin typeface="Arial"/>
              <a:ea typeface="ＭＳ Ｐゴシック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CE2B5F-5B69-4E4C-A661-DFD58C888758}"/>
              </a:ext>
            </a:extLst>
          </p:cNvPr>
          <p:cNvSpPr txBox="1"/>
          <p:nvPr/>
        </p:nvSpPr>
        <p:spPr>
          <a:xfrm>
            <a:off x="1999161" y="2172016"/>
            <a:ext cx="3677683" cy="8879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2585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12 Trillion Naira in 4years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5B73D1D-795A-4261-AC5C-8B61BA54B6F3}"/>
              </a:ext>
            </a:extLst>
          </p:cNvPr>
          <p:cNvSpPr txBox="1"/>
          <p:nvPr/>
        </p:nvSpPr>
        <p:spPr>
          <a:xfrm>
            <a:off x="1959315" y="3244695"/>
            <a:ext cx="7074289" cy="370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US" sz="1809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Annual PMS under recovery will escalate to </a:t>
            </a:r>
            <a:r>
              <a:rPr lang="en-US" sz="1809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3</a:t>
            </a:r>
            <a:r>
              <a:rPr lang="en-GB" sz="1809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 Trillion Naira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D2A7538-72E7-4883-92B6-DA11C501FD4A}"/>
              </a:ext>
            </a:extLst>
          </p:cNvPr>
          <p:cNvSpPr txBox="1"/>
          <p:nvPr/>
        </p:nvSpPr>
        <p:spPr>
          <a:xfrm>
            <a:off x="5496460" y="7103588"/>
            <a:ext cx="2776194" cy="37074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defRPr>
            </a:lvl1pPr>
          </a:lstStyle>
          <a:p>
            <a:pPr defTabSz="1181679">
              <a:defRPr/>
            </a:pPr>
            <a:r>
              <a:rPr lang="en-GB" sz="1809" dirty="0">
                <a:ea typeface="ＭＳ Ｐゴシック"/>
              </a:rPr>
              <a:t>@ </a:t>
            </a:r>
            <a:r>
              <a:rPr lang="en-GB" sz="1809" strike="sngStrike" dirty="0">
                <a:ea typeface="ＭＳ Ｐゴシック"/>
              </a:rPr>
              <a:t>N</a:t>
            </a:r>
            <a:r>
              <a:rPr lang="en-GB" sz="1809" dirty="0">
                <a:ea typeface="ＭＳ Ｐゴシック"/>
              </a:rPr>
              <a:t>82 Billion/ Hospital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BB53F01-C9E8-436F-A6A2-AE6F90D00EBD}"/>
              </a:ext>
            </a:extLst>
          </p:cNvPr>
          <p:cNvSpPr txBox="1"/>
          <p:nvPr/>
        </p:nvSpPr>
        <p:spPr>
          <a:xfrm>
            <a:off x="2143020" y="7103588"/>
            <a:ext cx="2688764" cy="370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1809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 @ </a:t>
            </a:r>
            <a:r>
              <a:rPr lang="en-GB" sz="1809" strike="sngStrike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N</a:t>
            </a:r>
            <a:r>
              <a:rPr lang="en-GB" sz="1809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rPr>
              <a:t>400,000,000.00/Km </a:t>
            </a:r>
            <a:endParaRPr lang="en-GB" sz="1809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236DB6A-97B8-43FF-80CE-887019FCD9CD}"/>
              </a:ext>
            </a:extLst>
          </p:cNvPr>
          <p:cNvSpPr txBox="1"/>
          <p:nvPr/>
        </p:nvSpPr>
        <p:spPr>
          <a:xfrm>
            <a:off x="2568408" y="6255542"/>
            <a:ext cx="1861399" cy="7685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2585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7,500KM </a:t>
            </a:r>
          </a:p>
          <a:p>
            <a:pPr defTabSz="1181679">
              <a:defRPr/>
            </a:pPr>
            <a:r>
              <a:rPr lang="en-GB" sz="1809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Every Year</a:t>
            </a:r>
            <a:endParaRPr lang="en-GB" sz="1809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1583AB0-8D30-48D0-B4D4-53CD4DA08EB5}"/>
              </a:ext>
            </a:extLst>
          </p:cNvPr>
          <p:cNvSpPr txBox="1"/>
          <p:nvPr/>
        </p:nvSpPr>
        <p:spPr>
          <a:xfrm>
            <a:off x="2193326" y="4013887"/>
            <a:ext cx="2861665" cy="4105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2068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Road Construction</a:t>
            </a:r>
            <a:endParaRPr lang="en-GB" sz="2068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pic>
        <p:nvPicPr>
          <p:cNvPr id="63492" name="Picture 4" descr="Road black icon on white background Royalty Free Vector">
            <a:extLst>
              <a:ext uri="{FF2B5EF4-FFF2-40B4-BE49-F238E27FC236}">
                <a16:creationId xmlns:a16="http://schemas.microsoft.com/office/drawing/2014/main" id="{D28E7B63-0847-4F9B-8511-3915A7DBC8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t="32520" r="16362" b="32444"/>
          <a:stretch/>
        </p:blipFill>
        <p:spPr bwMode="auto">
          <a:xfrm>
            <a:off x="2440831" y="4518308"/>
            <a:ext cx="2352461" cy="190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E79B1941-A263-4277-8CC4-317284A07C27}"/>
              </a:ext>
            </a:extLst>
          </p:cNvPr>
          <p:cNvSpPr txBox="1"/>
          <p:nvPr/>
        </p:nvSpPr>
        <p:spPr>
          <a:xfrm>
            <a:off x="5064117" y="3930153"/>
            <a:ext cx="3603809" cy="72878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 i="0" u="none" strike="noStrike">
                <a:solidFill>
                  <a:srgbClr val="000000"/>
                </a:solidFill>
                <a:effectLst/>
                <a:latin typeface="Century Gothic" panose="020B0502020202020204" pitchFamily="34" charset="0"/>
              </a:defRPr>
            </a:lvl1pPr>
          </a:lstStyle>
          <a:p>
            <a:pPr defTabSz="1181679">
              <a:defRPr/>
            </a:pPr>
            <a:r>
              <a:rPr lang="en-GB" sz="2068" dirty="0">
                <a:ea typeface="ＭＳ Ｐゴシック"/>
              </a:rPr>
              <a:t>Well Equipped 120 Beds Tertiary Health Centres</a:t>
            </a:r>
          </a:p>
        </p:txBody>
      </p:sp>
      <p:pic>
        <p:nvPicPr>
          <p:cNvPr id="63494" name="Picture 6" descr="Patient illustration, Computer Icons Hospital bed Patient Health Care, Icon  Patient Free transparent background PNG clipart | HiClipart">
            <a:extLst>
              <a:ext uri="{FF2B5EF4-FFF2-40B4-BE49-F238E27FC236}">
                <a16:creationId xmlns:a16="http://schemas.microsoft.com/office/drawing/2014/main" id="{0077FA68-E1A6-4927-BE4B-7DE4128A5F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802" y="4764899"/>
            <a:ext cx="2614148" cy="1844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12859BF8-4490-486F-8400-BDF5C774D35F}"/>
              </a:ext>
            </a:extLst>
          </p:cNvPr>
          <p:cNvSpPr txBox="1"/>
          <p:nvPr/>
        </p:nvSpPr>
        <p:spPr>
          <a:xfrm>
            <a:off x="5405311" y="6499427"/>
            <a:ext cx="2614141" cy="649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81679">
              <a:defRPr/>
            </a:pPr>
            <a:r>
              <a:rPr lang="en-GB" sz="3618" b="1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37 </a:t>
            </a:r>
            <a:r>
              <a:rPr lang="en-GB" sz="2326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Every Year</a:t>
            </a:r>
            <a:endParaRPr lang="en-GB" sz="2326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AFB6FD2-DE1C-4AD2-895D-C65CF174DCF3}"/>
              </a:ext>
            </a:extLst>
          </p:cNvPr>
          <p:cNvCxnSpPr>
            <a:cxnSpLocks/>
          </p:cNvCxnSpPr>
          <p:nvPr/>
        </p:nvCxnSpPr>
        <p:spPr>
          <a:xfrm>
            <a:off x="1837322" y="3796167"/>
            <a:ext cx="683060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CE54193-FB39-4F02-813B-159761F75B9D}"/>
              </a:ext>
            </a:extLst>
          </p:cNvPr>
          <p:cNvCxnSpPr>
            <a:cxnSpLocks/>
          </p:cNvCxnSpPr>
          <p:nvPr/>
        </p:nvCxnSpPr>
        <p:spPr>
          <a:xfrm>
            <a:off x="4976212" y="3938046"/>
            <a:ext cx="0" cy="385214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1B65F30D-AB7C-4A05-B7CF-AAE5BAC85DB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98"/>
          <a:stretch/>
        </p:blipFill>
        <p:spPr>
          <a:xfrm>
            <a:off x="8871935" y="4013888"/>
            <a:ext cx="3713084" cy="498506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DCAD267-3F47-48A0-B200-BB9EB7D74526}"/>
              </a:ext>
            </a:extLst>
          </p:cNvPr>
          <p:cNvSpPr txBox="1"/>
          <p:nvPr/>
        </p:nvSpPr>
        <p:spPr>
          <a:xfrm>
            <a:off x="6463813" y="2172015"/>
            <a:ext cx="6401294" cy="8876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3773" indent="-263773" defTabSz="1181702">
              <a:buFont typeface="Arial" panose="020B0604020202020204" pitchFamily="34" charset="0"/>
              <a:buChar char="•"/>
              <a:defRPr/>
            </a:pPr>
            <a:r>
              <a:rPr lang="en-US" sz="1292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At US$80 crude oil, 60m </a:t>
            </a:r>
            <a:r>
              <a:rPr lang="en-US" sz="1292" dirty="0" err="1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litres</a:t>
            </a:r>
            <a:r>
              <a:rPr lang="en-US" sz="1292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 daily consumption and N411/1$ FX, PMS under recovery per </a:t>
            </a:r>
            <a:r>
              <a:rPr lang="en-US" sz="1292" dirty="0" err="1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litre</a:t>
            </a:r>
            <a:r>
              <a:rPr lang="en-US" sz="1292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 will be N138/</a:t>
            </a:r>
            <a:r>
              <a:rPr lang="en-US" sz="1292" dirty="0" err="1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litre</a:t>
            </a:r>
            <a:endParaRPr lang="en-US" sz="1292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</a:endParaRPr>
          </a:p>
          <a:p>
            <a:pPr marL="263773" indent="-263773" defTabSz="1181702">
              <a:buFont typeface="Arial" panose="020B0604020202020204" pitchFamily="34" charset="0"/>
              <a:buChar char="•"/>
              <a:defRPr/>
            </a:pPr>
            <a:endParaRPr lang="en-US" sz="1292" dirty="0">
              <a:solidFill>
                <a:srgbClr val="000000"/>
              </a:solidFill>
              <a:latin typeface="Century Gothic" panose="020B0502020202020204" pitchFamily="34" charset="0"/>
              <a:ea typeface="ＭＳ Ｐゴシック"/>
            </a:endParaRPr>
          </a:p>
          <a:p>
            <a:pPr marL="263773" indent="-263773" defTabSz="1181702">
              <a:buFont typeface="Arial" panose="020B0604020202020204" pitchFamily="34" charset="0"/>
              <a:buChar char="•"/>
              <a:defRPr/>
            </a:pPr>
            <a:r>
              <a:rPr lang="en-US" sz="1292" dirty="0">
                <a:solidFill>
                  <a:srgbClr val="000000"/>
                </a:solidFill>
                <a:latin typeface="Century Gothic" panose="020B0502020202020204" pitchFamily="34" charset="0"/>
                <a:ea typeface="ＭＳ Ｐゴシック"/>
              </a:rPr>
              <a:t>Daily PMS under recovery will be N8.3billion</a:t>
            </a:r>
          </a:p>
        </p:txBody>
      </p:sp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8D6B68A9-0C87-43B8-A67B-F5A9C121852C}"/>
              </a:ext>
            </a:extLst>
          </p:cNvPr>
          <p:cNvSpPr/>
          <p:nvPr/>
        </p:nvSpPr>
        <p:spPr>
          <a:xfrm flipV="1">
            <a:off x="6884844" y="3563193"/>
            <a:ext cx="270101" cy="191921"/>
          </a:xfrm>
          <a:prstGeom prst="triangl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679">
              <a:defRPr/>
            </a:pPr>
            <a:endParaRPr lang="x-none" sz="2326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45680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1250" name="Object 172" hidden="1">
            <a:extLst>
              <a:ext uri="{FF2B5EF4-FFF2-40B4-BE49-F238E27FC236}">
                <a16:creationId xmlns:a16="http://schemas.microsoft.com/office/drawing/2014/main" id="{01595EC0-9C86-44BA-8771-9AC98D16187A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312380" y="1734284"/>
          <a:ext cx="1097" cy="1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81250" name="Object 172" hidden="1">
                        <a:extLst>
                          <a:ext uri="{FF2B5EF4-FFF2-40B4-BE49-F238E27FC236}">
                            <a16:creationId xmlns:a16="http://schemas.microsoft.com/office/drawing/2014/main" id="{01595EC0-9C86-44BA-8771-9AC98D16187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12380" y="1734284"/>
                        <a:ext cx="1097" cy="109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2" name="Rectangle 171" hidden="1">
            <a:extLst>
              <a:ext uri="{FF2B5EF4-FFF2-40B4-BE49-F238E27FC236}">
                <a16:creationId xmlns:a16="http://schemas.microsoft.com/office/drawing/2014/main" id="{CFC30221-2AFF-4150-A47B-358D9CADE58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310183" y="1733186"/>
            <a:ext cx="145073" cy="14397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81807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ZA" sz="730" dirty="0">
              <a:solidFill>
                <a:srgbClr val="000000"/>
              </a:solidFill>
              <a:latin typeface="Arial"/>
              <a:ea typeface="ＭＳ Ｐゴシック"/>
              <a:sym typeface="Arial" panose="020B060402020202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8BC1D78-C2B8-440F-BBAB-3556271FFC2A}"/>
              </a:ext>
            </a:extLst>
          </p:cNvPr>
          <p:cNvSpPr/>
          <p:nvPr/>
        </p:nvSpPr>
        <p:spPr>
          <a:xfrm>
            <a:off x="6815642" y="3156362"/>
            <a:ext cx="2582964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58459A-DE99-4981-9EC9-7020C4F6E528}"/>
              </a:ext>
            </a:extLst>
          </p:cNvPr>
          <p:cNvSpPr/>
          <p:nvPr/>
        </p:nvSpPr>
        <p:spPr>
          <a:xfrm>
            <a:off x="6826804" y="3276644"/>
            <a:ext cx="2569252" cy="590530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Customers Perception on Safety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D0D9A6AB-4F2B-4AAF-8CEF-D7186A1B6404}"/>
              </a:ext>
            </a:extLst>
          </p:cNvPr>
          <p:cNvSpPr/>
          <p:nvPr/>
        </p:nvSpPr>
        <p:spPr>
          <a:xfrm>
            <a:off x="6815642" y="4105800"/>
            <a:ext cx="2582964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E371B90-B9A3-4727-A0D5-AB67A47E863C}"/>
              </a:ext>
            </a:extLst>
          </p:cNvPr>
          <p:cNvSpPr/>
          <p:nvPr/>
        </p:nvSpPr>
        <p:spPr>
          <a:xfrm>
            <a:off x="6592108" y="4294120"/>
            <a:ext cx="2907296" cy="649584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Affordability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7B8072E2-4346-491B-8F1F-778B3226D36E}"/>
              </a:ext>
            </a:extLst>
          </p:cNvPr>
          <p:cNvSpPr/>
          <p:nvPr/>
        </p:nvSpPr>
        <p:spPr>
          <a:xfrm>
            <a:off x="6815642" y="5096434"/>
            <a:ext cx="2582964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E3B862-D0EA-4340-8FD7-54A335A32CCB}"/>
              </a:ext>
            </a:extLst>
          </p:cNvPr>
          <p:cNvSpPr/>
          <p:nvPr/>
        </p:nvSpPr>
        <p:spPr>
          <a:xfrm>
            <a:off x="6730792" y="5306645"/>
            <a:ext cx="2569252" cy="864595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Availability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D1E69EA-4891-4721-81E6-CFD3C010072B}"/>
              </a:ext>
            </a:extLst>
          </p:cNvPr>
          <p:cNvSpPr/>
          <p:nvPr/>
        </p:nvSpPr>
        <p:spPr>
          <a:xfrm>
            <a:off x="6815642" y="6146800"/>
            <a:ext cx="2582964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C51DB5B-3D94-4140-836B-A5831F314129}"/>
              </a:ext>
            </a:extLst>
          </p:cNvPr>
          <p:cNvSpPr/>
          <p:nvPr/>
        </p:nvSpPr>
        <p:spPr>
          <a:xfrm>
            <a:off x="6922817" y="6406163"/>
            <a:ext cx="2726321" cy="649584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Fuel Efficiency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3711723-5F12-445E-A18B-2681917E844B}"/>
              </a:ext>
            </a:extLst>
          </p:cNvPr>
          <p:cNvSpPr/>
          <p:nvPr/>
        </p:nvSpPr>
        <p:spPr>
          <a:xfrm>
            <a:off x="6831644" y="7178582"/>
            <a:ext cx="2569252" cy="863724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060"/>
            <a:endParaRPr lang="en-GB" sz="1889" b="1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DCE155E-9E46-4EF7-8C8F-9C33B3F093EE}"/>
              </a:ext>
            </a:extLst>
          </p:cNvPr>
          <p:cNvSpPr/>
          <p:nvPr/>
        </p:nvSpPr>
        <p:spPr>
          <a:xfrm>
            <a:off x="6922817" y="7397350"/>
            <a:ext cx="2821572" cy="649584"/>
          </a:xfrm>
          <a:prstGeom prst="rect">
            <a:avLst/>
          </a:prstGeom>
        </p:spPr>
        <p:txBody>
          <a:bodyPr/>
          <a:lstStyle/>
          <a:p>
            <a:pPr algn="ctr" defTabSz="81804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680" b="1" dirty="0">
                <a:solidFill>
                  <a:srgbClr val="FFFFF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rPr>
              <a:t>Switching Cos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1B39FF-229E-4A24-927D-8BF2A22E8D3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5534" t="20228" r="8732" b="18616"/>
          <a:stretch/>
        </p:blipFill>
        <p:spPr>
          <a:xfrm>
            <a:off x="10047655" y="4893114"/>
            <a:ext cx="1282646" cy="103574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521078D-E7D6-4E93-A94B-147662AB94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28864" y="4969524"/>
            <a:ext cx="1009549" cy="108900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7D1179E-2077-49FC-B14A-5E1657EDDF3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9980"/>
          <a:stretch/>
        </p:blipFill>
        <p:spPr>
          <a:xfrm>
            <a:off x="5030379" y="4944926"/>
            <a:ext cx="1038753" cy="1166737"/>
          </a:xfrm>
          <a:prstGeom prst="rect">
            <a:avLst/>
          </a:prstGeom>
        </p:spPr>
      </p:pic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F5860E8D-6D89-42C0-BCA7-C9FA1E418708}"/>
              </a:ext>
            </a:extLst>
          </p:cNvPr>
          <p:cNvSpPr/>
          <p:nvPr/>
        </p:nvSpPr>
        <p:spPr>
          <a:xfrm rot="5400000">
            <a:off x="9572266" y="5336336"/>
            <a:ext cx="513549" cy="210983"/>
          </a:xfrm>
          <a:prstGeom prst="triangle">
            <a:avLst/>
          </a:prstGeom>
          <a:solidFill>
            <a:srgbClr val="C00000"/>
          </a:solidFill>
          <a:ln>
            <a:solidFill>
              <a:srgbClr val="DA58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90840"/>
            <a:endParaRPr lang="en-NG" sz="2326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C1D41A3-6D59-47C8-B696-D2E1078E313C}"/>
              </a:ext>
            </a:extLst>
          </p:cNvPr>
          <p:cNvSpPr txBox="1"/>
          <p:nvPr/>
        </p:nvSpPr>
        <p:spPr>
          <a:xfrm>
            <a:off x="4809809" y="1473342"/>
            <a:ext cx="7610206" cy="552686"/>
          </a:xfrm>
          <a:prstGeom prst="rect">
            <a:avLst/>
          </a:prstGeom>
          <a:gradFill flip="none" rotWithShape="1">
            <a:gsLst>
              <a:gs pos="0">
                <a:srgbClr val="9F987D">
                  <a:tint val="66000"/>
                  <a:satMod val="160000"/>
                </a:srgbClr>
              </a:gs>
              <a:gs pos="50000">
                <a:srgbClr val="9F987D">
                  <a:tint val="44500"/>
                  <a:satMod val="160000"/>
                </a:srgbClr>
              </a:gs>
              <a:gs pos="100000">
                <a:srgbClr val="9F987D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pPr algn="l" defTabSz="118167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26" b="1" i="1" dirty="0">
                <a:solidFill>
                  <a:srgbClr val="000000"/>
                </a:solidFill>
                <a:latin typeface="Candara" panose="020E0502030303020204" pitchFamily="34" charset="0"/>
                <a:ea typeface="ＭＳ Ｐゴシック"/>
              </a:rPr>
              <a:t>Switching to Alternative Fuel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B59A81F-BCCE-494E-98A1-99BCB3A57DF4}"/>
              </a:ext>
            </a:extLst>
          </p:cNvPr>
          <p:cNvSpPr/>
          <p:nvPr/>
        </p:nvSpPr>
        <p:spPr>
          <a:xfrm>
            <a:off x="0" y="3507310"/>
            <a:ext cx="4525680" cy="5724613"/>
          </a:xfrm>
          <a:prstGeom prst="rect">
            <a:avLst/>
          </a:prstGeom>
          <a:gradFill flip="none" rotWithShape="1">
            <a:gsLst>
              <a:gs pos="0">
                <a:srgbClr val="9F987D">
                  <a:tint val="66000"/>
                  <a:satMod val="160000"/>
                </a:srgbClr>
              </a:gs>
              <a:gs pos="50000">
                <a:srgbClr val="9F987D">
                  <a:tint val="44500"/>
                  <a:satMod val="160000"/>
                </a:srgbClr>
              </a:gs>
              <a:gs pos="100000">
                <a:srgbClr val="9F987D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8167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2210" dirty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FD7C8A7-CBBB-4A19-B02E-F687E44DDE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357401"/>
            <a:ext cx="4525680" cy="3138033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68AD740-6CD8-4F36-99C8-5B9371682B64}"/>
              </a:ext>
            </a:extLst>
          </p:cNvPr>
          <p:cNvSpPr txBox="1"/>
          <p:nvPr/>
        </p:nvSpPr>
        <p:spPr>
          <a:xfrm>
            <a:off x="4852365" y="8623393"/>
            <a:ext cx="7610206" cy="552686"/>
          </a:xfrm>
          <a:prstGeom prst="rect">
            <a:avLst/>
          </a:prstGeom>
          <a:gradFill flip="none" rotWithShape="1">
            <a:gsLst>
              <a:gs pos="0">
                <a:srgbClr val="9F987D">
                  <a:tint val="66000"/>
                  <a:satMod val="160000"/>
                </a:srgbClr>
              </a:gs>
              <a:gs pos="50000">
                <a:srgbClr val="9F987D">
                  <a:tint val="44500"/>
                  <a:satMod val="160000"/>
                </a:srgbClr>
              </a:gs>
              <a:gs pos="100000">
                <a:srgbClr val="9F987D">
                  <a:tint val="23500"/>
                  <a:satMod val="160000"/>
                </a:srgb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</a:defRPr>
            </a:lvl9pPr>
          </a:lstStyle>
          <a:p>
            <a:pPr algn="l" defTabSz="118167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326" b="1" i="1" dirty="0">
                <a:solidFill>
                  <a:srgbClr val="000000"/>
                </a:solidFill>
                <a:latin typeface="Candara" panose="020E0502030303020204" pitchFamily="34" charset="0"/>
                <a:ea typeface="ＭＳ Ｐゴシック"/>
              </a:rPr>
              <a:t>Market players will require investment to trade across products portfolio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E14AC5-49EB-461D-9A1A-8A429B588D6D}"/>
              </a:ext>
            </a:extLst>
          </p:cNvPr>
          <p:cNvSpPr txBox="1"/>
          <p:nvPr/>
        </p:nvSpPr>
        <p:spPr>
          <a:xfrm>
            <a:off x="9681998" y="3756495"/>
            <a:ext cx="1883834" cy="967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90840"/>
            <a:r>
              <a:rPr lang="en-US" sz="1422" dirty="0">
                <a:solidFill>
                  <a:srgbClr val="000000"/>
                </a:solidFill>
                <a:latin typeface="Arial"/>
              </a:rPr>
              <a:t>No exposure to global prices, only to change in Dom Gas pricing of ~ $2.5</a:t>
            </a:r>
            <a:endParaRPr lang="en-NG" sz="142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285694-611E-4B20-9D83-E5CBC03C9257}"/>
              </a:ext>
            </a:extLst>
          </p:cNvPr>
          <p:cNvSpPr txBox="1"/>
          <p:nvPr/>
        </p:nvSpPr>
        <p:spPr>
          <a:xfrm>
            <a:off x="4997766" y="6058528"/>
            <a:ext cx="11836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trike="dblStrike" dirty="0"/>
              <a:t>N</a:t>
            </a:r>
            <a:r>
              <a:rPr lang="en-US" sz="2800" dirty="0"/>
              <a:t>320</a:t>
            </a:r>
            <a:endParaRPr lang="en-NG" sz="28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BD21BFE-F7F1-4BC8-872A-93080C8ED75B}"/>
              </a:ext>
            </a:extLst>
          </p:cNvPr>
          <p:cNvSpPr txBox="1"/>
          <p:nvPr/>
        </p:nvSpPr>
        <p:spPr>
          <a:xfrm>
            <a:off x="9934286" y="6075455"/>
            <a:ext cx="11836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trike="dblStrike" dirty="0"/>
              <a:t>N</a:t>
            </a:r>
            <a:r>
              <a:rPr lang="en-US" sz="2800" dirty="0"/>
              <a:t>160</a:t>
            </a:r>
            <a:endParaRPr lang="en-NG" sz="2800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D4188E8-0B19-4EAA-9FAE-70804BEA0C57}"/>
              </a:ext>
            </a:extLst>
          </p:cNvPr>
          <p:cNvSpPr txBox="1"/>
          <p:nvPr/>
        </p:nvSpPr>
        <p:spPr>
          <a:xfrm>
            <a:off x="11408872" y="6064428"/>
            <a:ext cx="11836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strike="dblStrike" dirty="0"/>
              <a:t>N</a:t>
            </a:r>
            <a:r>
              <a:rPr lang="en-US" sz="2800" dirty="0"/>
              <a:t>323</a:t>
            </a:r>
            <a:endParaRPr lang="en-NG" sz="2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3228F2-FF71-4CDA-8744-E89E3DA4FC14}"/>
              </a:ext>
            </a:extLst>
          </p:cNvPr>
          <p:cNvSpPr txBox="1"/>
          <p:nvPr/>
        </p:nvSpPr>
        <p:spPr>
          <a:xfrm>
            <a:off x="11408872" y="6759941"/>
            <a:ext cx="16836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>
                <a:solidFill>
                  <a:srgbClr val="FF0000"/>
                </a:solidFill>
              </a:rPr>
              <a:t>LPG Assumptions:</a:t>
            </a:r>
          </a:p>
          <a:p>
            <a:r>
              <a:rPr lang="en-US" sz="1100" i="1" dirty="0">
                <a:solidFill>
                  <a:srgbClr val="FF0000"/>
                </a:solidFill>
              </a:rPr>
              <a:t>- Delivered price of N7,600/12kg </a:t>
            </a:r>
          </a:p>
          <a:p>
            <a:r>
              <a:rPr lang="en-US" sz="1100" i="1" dirty="0">
                <a:solidFill>
                  <a:srgbClr val="FF0000"/>
                </a:solidFill>
              </a:rPr>
              <a:t>- 1 Kg to </a:t>
            </a:r>
            <a:r>
              <a:rPr lang="en-US" sz="1100" i="1" dirty="0" err="1">
                <a:solidFill>
                  <a:srgbClr val="FF0000"/>
                </a:solidFill>
              </a:rPr>
              <a:t>litre</a:t>
            </a:r>
            <a:endParaRPr lang="en-NG" sz="11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6268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Rectangle 2" hidden="1">
            <a:extLst>
              <a:ext uri="{FF2B5EF4-FFF2-40B4-BE49-F238E27FC236}">
                <a16:creationId xmlns:a16="http://schemas.microsoft.com/office/drawing/2014/main" id="{0F78EBFA-FDA7-4686-B1AC-290D8B2C4899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92458" y="369627"/>
          <a:ext cx="210890" cy="2086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40962" name="Rectangle 2" hidden="1">
                        <a:extLst>
                          <a:ext uri="{FF2B5EF4-FFF2-40B4-BE49-F238E27FC236}">
                            <a16:creationId xmlns:a16="http://schemas.microsoft.com/office/drawing/2014/main" id="{0F78EBFA-FDA7-4686-B1AC-290D8B2C4899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92458" y="369627"/>
                        <a:ext cx="210890" cy="20862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655F17C5-38C3-4A3C-8710-BC49A6020D95}"/>
              </a:ext>
            </a:extLst>
          </p:cNvPr>
          <p:cNvSpPr/>
          <p:nvPr/>
        </p:nvSpPr>
        <p:spPr>
          <a:xfrm>
            <a:off x="3545225" y="3947211"/>
            <a:ext cx="5101188" cy="1292525"/>
          </a:xfrm>
          <a:prstGeom prst="rect">
            <a:avLst/>
          </a:prstGeom>
          <a:solidFill>
            <a:srgbClr val="FFFFFF"/>
          </a:solidFill>
        </p:spPr>
        <p:txBody>
          <a:bodyPr wrap="none" lIns="128008" tIns="64004" rIns="128008" bIns="64004">
            <a:spAutoFit/>
          </a:bodyPr>
          <a:lstStyle/>
          <a:p>
            <a:pPr marL="0" marR="0" lvl="0" indent="0" algn="ctr" defTabSz="12800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59" b="1" i="0" u="none" strike="noStrike" kern="0" cap="none" spc="0" normalizeH="0" baseline="0" noProof="0" dirty="0">
                <a:ln w="9525">
                  <a:solidFill>
                    <a:srgbClr val="FFFFFF"/>
                  </a:solidFill>
                  <a:prstDash val="solid"/>
                </a:ln>
                <a:solidFill>
                  <a:srgbClr val="004C22"/>
                </a:solidFill>
                <a:effectLst>
                  <a:outerShdw blurRad="12700" dist="38100" dir="2700000" algn="tl" rotWithShape="0">
                    <a:srgbClr val="FFFFFF">
                      <a:lumMod val="50000"/>
                    </a:srgbClr>
                  </a:outerShdw>
                </a:effectLst>
                <a:uLnTx/>
                <a:uFillTx/>
                <a:latin typeface="Arial"/>
                <a:ea typeface="ＭＳ Ｐゴシック"/>
                <a:cs typeface="+mn-cs"/>
              </a:rPr>
              <a:t>Thank you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B2m8_AvkCAIV1tNRWfl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onLvQHrkapSXKCS02rM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Me_iySsUaJbmFXm0ozS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B2m8_AvkCAIV1tNRWfl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B2m8_AvkCAIV1tNRWfl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k7J7BLC0ymvPjI4EWm8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onLvQHrkapSXKCS02rM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k7xTnFgU2t1YyGXudsU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Me_iySsUaJbmFXm0ozS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H0n8j9WkKrYDzAUtaDV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svRnrrYUWGE3GZ.Q9z2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7t_POYx0OVKeRiYaK3t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B2m8_AvkCAIV1tNRWfl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_U_QGUmVBbegHFwjanE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kfiYJ1OUqcU0pzuOx6N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ZUa4MuG02TZu8whC6FD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Q6U8ksJESuNB4iDYSsY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HlhF0_f0q3fbhLrZPIm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sEx6IY50GSeTsHiUFql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1XqRGKJk6HbAa.fgDAj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zTDBM4c02NiDUGU7evk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riUI7Szk66aKwepKs7W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g89IgL50OamaDL6lhhR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1borxtqs9R5JRpNMc0w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yQv3KoAUKHk0QGcKBRA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iYoKms4Ee3E41WfhdkA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1borxtqs9R5JRpNMc0w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Dn0bes1UCzeVCkthJH9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BSNDBa9USINmHR_6mFo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qykk1uvgyKFzny5wphO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4esR9eNU6DP0r91ivRK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rfDPBZyk2ZNAywpv8Ur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XuVe79gUmrtN4duTjUF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j2QX3seEiD3ttE_KLiV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_U_QGUmVBbegHFwjanE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kfiYJ1OUqcU0pzuOx6N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ZUa4MuG02TZu8whC6FD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Q6U8ksJESuNB4iDYSsY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HlhF0_f0q3fbhLrZPIm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sEx6IY50GSeTsHiUFql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1XqRGKJk6HbAa.fgDAj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zTDBM4c02NiDUGU7evk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riUI7Szk66aKwepKs7W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g89IgL50OamaDL6lhhR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kfiYJ1OUqcU0pzuOx6N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ZUa4MuG02TZu8whC6FD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Q6U8ksJESuNB4iDYSsY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HlhF0_f0q3fbhLrZPIm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sEx6IY50GSeTsHiUFql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1XqRGKJk6HbAa.fgDAj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zTDBM4c02NiDUGU7evk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riUI7Szk66aKwepKs7W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g89IgL50OamaDL6lhhR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JPWb4gBE.ZEsBpO_MKT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6YHA6HJESrEfqASUl0n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HUtif1u02WVk0EbUYQs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wxd4r.MUC2mM.RZbp5w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Kqvoo9mkGXYZRumTGt7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3VtJSgzkWLjXOa4yH7q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3VtJSgzkWLjXOa4yH7q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20ZlOLXkO0OEnKZRill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4uUMLOCUWOifEp7e5c8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9_NNP030_CF template">
  <a:themeElements>
    <a:clrScheme name="Current">
      <a:dk1>
        <a:srgbClr val="000000"/>
      </a:dk1>
      <a:lt1>
        <a:srgbClr val="FFFFFF"/>
      </a:lt1>
      <a:dk2>
        <a:srgbClr val="3D764D"/>
      </a:dk2>
      <a:lt2>
        <a:srgbClr val="EAEAEA"/>
      </a:lt2>
      <a:accent1>
        <a:srgbClr val="DFEDE4"/>
      </a:accent1>
      <a:accent2>
        <a:srgbClr val="A1CFB8"/>
      </a:accent2>
      <a:accent3>
        <a:srgbClr val="77B58C"/>
      </a:accent3>
      <a:accent4>
        <a:srgbClr val="DBE767"/>
      </a:accent4>
      <a:accent5>
        <a:srgbClr val="FF6600"/>
      </a:accent5>
      <a:accent6>
        <a:srgbClr val="808080"/>
      </a:accent6>
      <a:hlink>
        <a:srgbClr val="77B58C"/>
      </a:hlink>
      <a:folHlink>
        <a:srgbClr val="DBE76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9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2_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4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1_NNP030_CF template">
  <a:themeElements>
    <a:clrScheme name="Current">
      <a:dk1>
        <a:srgbClr val="000000"/>
      </a:dk1>
      <a:lt1>
        <a:srgbClr val="FFFFFF"/>
      </a:lt1>
      <a:dk2>
        <a:srgbClr val="3D764D"/>
      </a:dk2>
      <a:lt2>
        <a:srgbClr val="EAEAEA"/>
      </a:lt2>
      <a:accent1>
        <a:srgbClr val="DFEDE4"/>
      </a:accent1>
      <a:accent2>
        <a:srgbClr val="A1CFB8"/>
      </a:accent2>
      <a:accent3>
        <a:srgbClr val="77B58C"/>
      </a:accent3>
      <a:accent4>
        <a:srgbClr val="DBE767"/>
      </a:accent4>
      <a:accent5>
        <a:srgbClr val="FF6600"/>
      </a:accent5>
      <a:accent6>
        <a:srgbClr val="808080"/>
      </a:accent6>
      <a:hlink>
        <a:srgbClr val="77B58C"/>
      </a:hlink>
      <a:folHlink>
        <a:srgbClr val="DBE76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5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0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7_NNP030_CF template">
  <a:themeElements>
    <a:clrScheme name="Current">
      <a:dk1>
        <a:srgbClr val="000000"/>
      </a:dk1>
      <a:lt1>
        <a:srgbClr val="FFFFFF"/>
      </a:lt1>
      <a:dk2>
        <a:srgbClr val="3D764D"/>
      </a:dk2>
      <a:lt2>
        <a:srgbClr val="EAEAEA"/>
      </a:lt2>
      <a:accent1>
        <a:srgbClr val="DFEDE4"/>
      </a:accent1>
      <a:accent2>
        <a:srgbClr val="A1CFB8"/>
      </a:accent2>
      <a:accent3>
        <a:srgbClr val="77B58C"/>
      </a:accent3>
      <a:accent4>
        <a:srgbClr val="DBE767"/>
      </a:accent4>
      <a:accent5>
        <a:srgbClr val="FF6600"/>
      </a:accent5>
      <a:accent6>
        <a:srgbClr val="808080"/>
      </a:accent6>
      <a:hlink>
        <a:srgbClr val="77B58C"/>
      </a:hlink>
      <a:folHlink>
        <a:srgbClr val="DBE76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6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ddax_SINOPEC MOU review" id="{278579BE-8FA4-4B22-AFA0-4EE9A06D2526}" vid="{01B8EF36-D12B-45F1-AE3C-0C25375DDA06}"/>
    </a:ext>
  </a:extLst>
</a:theme>
</file>

<file path=ppt/theme/theme6.xml><?xml version="1.0" encoding="utf-8"?>
<a:theme xmlns:a="http://schemas.openxmlformats.org/drawingml/2006/main" name="1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ddax_SINOPEC MOU review" id="{278579BE-8FA4-4B22-AFA0-4EE9A06D2526}" vid="{01B8EF36-D12B-45F1-AE3C-0C25375DDA06}"/>
    </a:ext>
  </a:extLst>
</a:theme>
</file>

<file path=ppt/theme/theme7.xml><?xml version="1.0" encoding="utf-8"?>
<a:theme xmlns:a="http://schemas.openxmlformats.org/drawingml/2006/main" name="2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igerian Nationale Petroleum_CF_NNP022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3D6E4D"/>
        </a:accent3>
        <a:accent4>
          <a:srgbClr val="DBE767"/>
        </a:accent4>
        <a:accent5>
          <a:srgbClr val="FF6600"/>
        </a:accent5>
        <a:accent6>
          <a:srgbClr val="808080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NNP030_CF template">
  <a:themeElements>
    <a:clrScheme name="Current">
      <a:dk1>
        <a:srgbClr val="000000"/>
      </a:dk1>
      <a:lt1>
        <a:srgbClr val="FFFFFF"/>
      </a:lt1>
      <a:dk2>
        <a:srgbClr val="3D764D"/>
      </a:dk2>
      <a:lt2>
        <a:srgbClr val="EAEAEA"/>
      </a:lt2>
      <a:accent1>
        <a:srgbClr val="DFEDE4"/>
      </a:accent1>
      <a:accent2>
        <a:srgbClr val="A1CFB8"/>
      </a:accent2>
      <a:accent3>
        <a:srgbClr val="77B58C"/>
      </a:accent3>
      <a:accent4>
        <a:srgbClr val="DBE767"/>
      </a:accent4>
      <a:accent5>
        <a:srgbClr val="FF6600"/>
      </a:accent5>
      <a:accent6>
        <a:srgbClr val="808080"/>
      </a:accent6>
      <a:hlink>
        <a:srgbClr val="77B58C"/>
      </a:hlink>
      <a:folHlink>
        <a:srgbClr val="DBE76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7_NNP_CF_NNP040">
  <a:themeElements>
    <a:clrScheme name="Current">
      <a:dk1>
        <a:srgbClr val="000000"/>
      </a:dk1>
      <a:lt1>
        <a:srgbClr val="FFFFFF"/>
      </a:lt1>
      <a:dk2>
        <a:srgbClr val="3D6E4D"/>
      </a:dk2>
      <a:lt2>
        <a:srgbClr val="FFFFFF"/>
      </a:lt2>
      <a:accent1>
        <a:srgbClr val="B7DBC9"/>
      </a:accent1>
      <a:accent2>
        <a:srgbClr val="77B58C"/>
      </a:accent2>
      <a:accent3>
        <a:srgbClr val="3D6E4D"/>
      </a:accent3>
      <a:accent4>
        <a:srgbClr val="DBE767"/>
      </a:accent4>
      <a:accent5>
        <a:srgbClr val="FF6600"/>
      </a:accent5>
      <a:accent6>
        <a:srgbClr val="808080"/>
      </a:accent6>
      <a:hlink>
        <a:srgbClr val="3D6E4D"/>
      </a:hlink>
      <a:folHlink>
        <a:srgbClr val="DBE767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NP_CF_NNP040 1">
        <a:dk1>
          <a:srgbClr val="000000"/>
        </a:dk1>
        <a:lt1>
          <a:srgbClr val="FFFFFF"/>
        </a:lt1>
        <a:dk2>
          <a:srgbClr val="3D6E4D"/>
        </a:dk2>
        <a:lt2>
          <a:srgbClr val="FFFFFF"/>
        </a:lt2>
        <a:accent1>
          <a:srgbClr val="B7DBC9"/>
        </a:accent1>
        <a:accent2>
          <a:srgbClr val="77B58C"/>
        </a:accent2>
        <a:accent3>
          <a:srgbClr val="FFFFFF"/>
        </a:accent3>
        <a:accent4>
          <a:srgbClr val="000000"/>
        </a:accent4>
        <a:accent5>
          <a:srgbClr val="D8EAE1"/>
        </a:accent5>
        <a:accent6>
          <a:srgbClr val="6BA47E"/>
        </a:accent6>
        <a:hlink>
          <a:srgbClr val="3D6E4D"/>
        </a:hlink>
        <a:folHlink>
          <a:srgbClr val="DBE7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Current">
    <a:dk1>
      <a:srgbClr val="000000"/>
    </a:dk1>
    <a:lt1>
      <a:srgbClr val="FFFFFF"/>
    </a:lt1>
    <a:dk2>
      <a:srgbClr val="3D6E4D"/>
    </a:dk2>
    <a:lt2>
      <a:srgbClr val="FFFFFF"/>
    </a:lt2>
    <a:accent1>
      <a:srgbClr val="B7DBC9"/>
    </a:accent1>
    <a:accent2>
      <a:srgbClr val="77B58C"/>
    </a:accent2>
    <a:accent3>
      <a:srgbClr val="3D6E4D"/>
    </a:accent3>
    <a:accent4>
      <a:srgbClr val="DBE767"/>
    </a:accent4>
    <a:accent5>
      <a:srgbClr val="FF6600"/>
    </a:accent5>
    <a:accent6>
      <a:srgbClr val="808080"/>
    </a:accent6>
    <a:hlink>
      <a:srgbClr val="3D6E4D"/>
    </a:hlink>
    <a:folHlink>
      <a:srgbClr val="DBE767"/>
    </a:folHlink>
  </a:clrScheme>
  <a:fontScheme name="McKJapanese">
    <a:majorFont>
      <a:latin typeface="Arial"/>
      <a:ea typeface="ＭＳ Ｐゴシック"/>
      <a:cs typeface=""/>
    </a:majorFont>
    <a:minorFont>
      <a:latin typeface="Arial"/>
      <a:ea typeface="ＭＳ Ｐゴシック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3F4E2EAE05A24A9DA5363EF9D25BC0" ma:contentTypeVersion="13" ma:contentTypeDescription="Create a new document." ma:contentTypeScope="" ma:versionID="e700ba6de3d702a208202b5955f98faf">
  <xsd:schema xmlns:xsd="http://www.w3.org/2001/XMLSchema" xmlns:xs="http://www.w3.org/2001/XMLSchema" xmlns:p="http://schemas.microsoft.com/office/2006/metadata/properties" xmlns:ns3="53ca367e-9145-41b5-9296-7524400984fb" xmlns:ns4="27c8f433-01cd-4b77-b434-2fdcbd65e87e" targetNamespace="http://schemas.microsoft.com/office/2006/metadata/properties" ma:root="true" ma:fieldsID="3d320bc7b315b0eabf9da8f450a42846" ns3:_="" ns4:_="">
    <xsd:import namespace="53ca367e-9145-41b5-9296-7524400984fb"/>
    <xsd:import namespace="27c8f433-01cd-4b77-b434-2fdcbd65e87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ca367e-9145-41b5-9296-7524400984f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c8f433-01cd-4b77-b434-2fdcbd65e87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8F574A2-0B4B-4EF4-85C4-F4866BCC2B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A5B9C1D-484E-4806-9FB2-6D9394512208}">
  <ds:schemaRefs>
    <ds:schemaRef ds:uri="http://purl.org/dc/elements/1.1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27c8f433-01cd-4b77-b434-2fdcbd65e87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53ca367e-9145-41b5-9296-7524400984fb"/>
  </ds:schemaRefs>
</ds:datastoreItem>
</file>

<file path=customXml/itemProps3.xml><?xml version="1.0" encoding="utf-8"?>
<ds:datastoreItem xmlns:ds="http://schemas.openxmlformats.org/officeDocument/2006/customXml" ds:itemID="{AAF41A03-3E35-4D29-9964-9DFD517E95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ca367e-9145-41b5-9296-7524400984fb"/>
    <ds:schemaRef ds:uri="27c8f433-01cd-4b77-b434-2fdcbd65e8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23</TotalTime>
  <Words>413</Words>
  <Application>Microsoft Office PowerPoint</Application>
  <PresentationFormat>A3 Paper (297x420 mm)</PresentationFormat>
  <Paragraphs>84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31" baseType="lpstr">
      <vt:lpstr>Arial</vt:lpstr>
      <vt:lpstr>Book Antiqua</vt:lpstr>
      <vt:lpstr>Calibri</vt:lpstr>
      <vt:lpstr>Candara</vt:lpstr>
      <vt:lpstr>Century Gothic</vt:lpstr>
      <vt:lpstr>Gothic Uralic</vt:lpstr>
      <vt:lpstr>9_NNP030_CF template</vt:lpstr>
      <vt:lpstr>6_NNP_CF_NNP040</vt:lpstr>
      <vt:lpstr>NNP_CF_NNP040</vt:lpstr>
      <vt:lpstr>16_NNP_CF_NNP040</vt:lpstr>
      <vt:lpstr>3_NNP_CF_NNP040</vt:lpstr>
      <vt:lpstr>1_NNP_CF_NNP040</vt:lpstr>
      <vt:lpstr>2_NNP_CF_NNP040</vt:lpstr>
      <vt:lpstr>6_NNP030_CF template</vt:lpstr>
      <vt:lpstr>17_NNP_CF_NNP040</vt:lpstr>
      <vt:lpstr>49_NNP_CF_NNP040</vt:lpstr>
      <vt:lpstr>9_NNP_CF_NNP040</vt:lpstr>
      <vt:lpstr>4_NNP_CF_NNP040</vt:lpstr>
      <vt:lpstr>11_NNP030_CF template</vt:lpstr>
      <vt:lpstr>5_NNP_CF_NNP040</vt:lpstr>
      <vt:lpstr>10_NNP_CF_NNP040</vt:lpstr>
      <vt:lpstr>7_NNP030_CF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CCMADMI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lisu K. Haruna</dc:creator>
  <cp:lastModifiedBy>Naomi Tietie</cp:lastModifiedBy>
  <cp:revision>878</cp:revision>
  <cp:lastPrinted>2021-10-15T11:14:35Z</cp:lastPrinted>
  <dcterms:created xsi:type="dcterms:W3CDTF">2021-03-22T15:49:01Z</dcterms:created>
  <dcterms:modified xsi:type="dcterms:W3CDTF">2021-10-29T16:3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3F4E2EAE05A24A9DA5363EF9D25BC0</vt:lpwstr>
  </property>
</Properties>
</file>